
<file path=[Content_Types].xml><?xml version="1.0" encoding="utf-8"?>
<Types xmlns="http://schemas.openxmlformats.org/package/2006/content-types">
  <Default Extension="tmp" ContentType="image/png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6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7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8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4.xml" ContentType="application/vnd.openxmlformats-officedocument.presentationml.notesSlide+xml"/>
  <Override PartName="/ppt/tags/tag126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notesSlides/notesSlide6.xml" ContentType="application/vnd.openxmlformats-officedocument.presentationml.notesSlide+xml"/>
  <Override PartName="/ppt/tags/tag139.xml" ContentType="application/vnd.openxmlformats-officedocument.presentationml.tags+xml"/>
  <Override PartName="/ppt/notesSlides/notesSlide7.xml" ContentType="application/vnd.openxmlformats-officedocument.presentationml.notesSlide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notesSlides/notesSlide9.xml" ContentType="application/vnd.openxmlformats-officedocument.presentationml.notesSlid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notesSlides/notesSlide10.xml" ContentType="application/vnd.openxmlformats-officedocument.presentationml.notesSlide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charts/chart14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charts/chart15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6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notesSlides/notesSlide12.xml" ContentType="application/vnd.openxmlformats-officedocument.presentationml.notesSlide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notesSlides/notesSlide13.xml" ContentType="application/vnd.openxmlformats-officedocument.presentationml.notesSlid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notesSlides/notesSlide14.xml" ContentType="application/vnd.openxmlformats-officedocument.presentationml.notesSlide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79" r:id="rId1"/>
    <p:sldMasterId id="2147483705" r:id="rId2"/>
    <p:sldMasterId id="2147483740" r:id="rId3"/>
    <p:sldMasterId id="2147483776" r:id="rId4"/>
    <p:sldMasterId id="2147483792" r:id="rId5"/>
    <p:sldMasterId id="2147483809" r:id="rId6"/>
    <p:sldMasterId id="2147483815" r:id="rId7"/>
    <p:sldMasterId id="2147483825" r:id="rId8"/>
    <p:sldMasterId id="2147483834" r:id="rId9"/>
  </p:sldMasterIdLst>
  <p:notesMasterIdLst>
    <p:notesMasterId r:id="rId53"/>
  </p:notesMasterIdLst>
  <p:sldIdLst>
    <p:sldId id="1751" r:id="rId10"/>
    <p:sldId id="1801" r:id="rId11"/>
    <p:sldId id="1403" r:id="rId12"/>
    <p:sldId id="1768" r:id="rId13"/>
    <p:sldId id="1832" r:id="rId14"/>
    <p:sldId id="1834" r:id="rId15"/>
    <p:sldId id="1882" r:id="rId16"/>
    <p:sldId id="1833" r:id="rId17"/>
    <p:sldId id="1820" r:id="rId18"/>
    <p:sldId id="1822" r:id="rId19"/>
    <p:sldId id="1886" r:id="rId20"/>
    <p:sldId id="1824" r:id="rId21"/>
    <p:sldId id="1843" r:id="rId22"/>
    <p:sldId id="1760" r:id="rId23"/>
    <p:sldId id="1845" r:id="rId24"/>
    <p:sldId id="1764" r:id="rId25"/>
    <p:sldId id="1769" r:id="rId26"/>
    <p:sldId id="1835" r:id="rId27"/>
    <p:sldId id="1872" r:id="rId28"/>
    <p:sldId id="1873" r:id="rId29"/>
    <p:sldId id="1410" r:id="rId30"/>
    <p:sldId id="1411" r:id="rId31"/>
    <p:sldId id="1884" r:id="rId32"/>
    <p:sldId id="1885" r:id="rId33"/>
    <p:sldId id="1803" r:id="rId34"/>
    <p:sldId id="1406" r:id="rId35"/>
    <p:sldId id="1415" r:id="rId36"/>
    <p:sldId id="1416" r:id="rId37"/>
    <p:sldId id="1417" r:id="rId38"/>
    <p:sldId id="1727" r:id="rId39"/>
    <p:sldId id="1825" r:id="rId40"/>
    <p:sldId id="1827" r:id="rId41"/>
    <p:sldId id="1828" r:id="rId42"/>
    <p:sldId id="1883" r:id="rId43"/>
    <p:sldId id="1836" r:id="rId44"/>
    <p:sldId id="1837" r:id="rId45"/>
    <p:sldId id="1838" r:id="rId46"/>
    <p:sldId id="1878" r:id="rId47"/>
    <p:sldId id="1879" r:id="rId48"/>
    <p:sldId id="1880" r:id="rId49"/>
    <p:sldId id="1881" r:id="rId50"/>
    <p:sldId id="1842" r:id="rId51"/>
    <p:sldId id="1776" r:id="rId52"/>
  </p:sldIdLst>
  <p:sldSz cx="12192000" cy="6858000"/>
  <p:notesSz cx="6858000" cy="9144000"/>
  <p:embeddedFontLst>
    <p:embeddedFont>
      <p:font typeface="Calibri Light" panose="020F0302020204030204" pitchFamily="34" charset="0"/>
      <p:regular r:id="rId54"/>
      <p:italic r:id="rId55"/>
    </p:embeddedFont>
    <p:embeddedFont>
      <p:font typeface="Calibri" panose="020F0502020204030204" pitchFamily="34" charset="0"/>
      <p:regular r:id="rId56"/>
      <p:bold r:id="rId57"/>
      <p:italic r:id="rId58"/>
      <p:boldItalic r:id="rId59"/>
    </p:embeddedFont>
    <p:embeddedFont>
      <p:font typeface="Arial Black" panose="020B0A04020102020204" pitchFamily="34" charset="0"/>
      <p:bold r:id="rId60"/>
    </p:embeddedFont>
  </p:embeddedFontLst>
  <p:custDataLst>
    <p:tags r:id="rId61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993A3A"/>
    <a:srgbClr val="666363"/>
    <a:srgbClr val="305983"/>
    <a:srgbClr val="4CB9FC"/>
    <a:srgbClr val="00B0F0"/>
    <a:srgbClr val="00FF00"/>
    <a:srgbClr val="B0C2E5"/>
    <a:srgbClr val="D0CCCE"/>
    <a:srgbClr val="59535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260" autoAdjust="0"/>
    <p:restoredTop sz="96327" autoAdjust="0"/>
  </p:normalViewPr>
  <p:slideViewPr>
    <p:cSldViewPr snapToGrid="0">
      <p:cViewPr varScale="1">
        <p:scale>
          <a:sx n="107" d="100"/>
          <a:sy n="107" d="100"/>
        </p:scale>
        <p:origin x="348" y="114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slide" Target="slides/slide30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slide" Target="slides/slide33.xml"/><Relationship Id="rId47" Type="http://schemas.openxmlformats.org/officeDocument/2006/relationships/slide" Target="slides/slide38.xml"/><Relationship Id="rId50" Type="http://schemas.openxmlformats.org/officeDocument/2006/relationships/slide" Target="slides/slide41.xml"/><Relationship Id="rId55" Type="http://schemas.openxmlformats.org/officeDocument/2006/relationships/font" Target="fonts/font2.fntdata"/><Relationship Id="rId63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41" Type="http://schemas.openxmlformats.org/officeDocument/2006/relationships/slide" Target="slides/slide32.xml"/><Relationship Id="rId54" Type="http://schemas.openxmlformats.org/officeDocument/2006/relationships/font" Target="fonts/font1.fntdata"/><Relationship Id="rId62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slide" Target="slides/slide31.xml"/><Relationship Id="rId45" Type="http://schemas.openxmlformats.org/officeDocument/2006/relationships/slide" Target="slides/slide36.xml"/><Relationship Id="rId53" Type="http://schemas.openxmlformats.org/officeDocument/2006/relationships/notesMaster" Target="notesMasters/notesMaster1.xml"/><Relationship Id="rId58" Type="http://schemas.openxmlformats.org/officeDocument/2006/relationships/font" Target="fonts/font5.fntdata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49" Type="http://schemas.openxmlformats.org/officeDocument/2006/relationships/slide" Target="slides/slide40.xml"/><Relationship Id="rId57" Type="http://schemas.openxmlformats.org/officeDocument/2006/relationships/font" Target="fonts/font4.fntdata"/><Relationship Id="rId61" Type="http://schemas.openxmlformats.org/officeDocument/2006/relationships/tags" Target="tags/tag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openxmlformats.org/officeDocument/2006/relationships/slide" Target="slides/slide35.xml"/><Relationship Id="rId52" Type="http://schemas.openxmlformats.org/officeDocument/2006/relationships/slide" Target="slides/slide43.xml"/><Relationship Id="rId60" Type="http://schemas.openxmlformats.org/officeDocument/2006/relationships/font" Target="fonts/font7.fntdata"/><Relationship Id="rId65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slide" Target="slides/slide34.xml"/><Relationship Id="rId48" Type="http://schemas.openxmlformats.org/officeDocument/2006/relationships/slide" Target="slides/slide39.xml"/><Relationship Id="rId56" Type="http://schemas.openxmlformats.org/officeDocument/2006/relationships/font" Target="fonts/font3.fntdata"/><Relationship Id="rId64" Type="http://schemas.openxmlformats.org/officeDocument/2006/relationships/theme" Target="theme/theme1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2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slide" Target="slides/slide37.xml"/><Relationship Id="rId59" Type="http://schemas.openxmlformats.org/officeDocument/2006/relationships/font" Target="fonts/font6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11.xlsx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2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3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4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5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17401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8</c:f>
              <c:numCache>
                <c:formatCode>m/d/yyyy</c:formatCode>
                <c:ptCount val="227"/>
                <c:pt idx="0">
                  <c:v>44202</c:v>
                </c:pt>
                <c:pt idx="1">
                  <c:v>44203</c:v>
                </c:pt>
                <c:pt idx="2">
                  <c:v>44204</c:v>
                </c:pt>
                <c:pt idx="3">
                  <c:v>44205</c:v>
                </c:pt>
                <c:pt idx="4">
                  <c:v>44206</c:v>
                </c:pt>
                <c:pt idx="5">
                  <c:v>44207</c:v>
                </c:pt>
                <c:pt idx="6">
                  <c:v>44208</c:v>
                </c:pt>
                <c:pt idx="7">
                  <c:v>44209</c:v>
                </c:pt>
                <c:pt idx="8">
                  <c:v>44210</c:v>
                </c:pt>
                <c:pt idx="9">
                  <c:v>44211</c:v>
                </c:pt>
                <c:pt idx="10">
                  <c:v>44212</c:v>
                </c:pt>
                <c:pt idx="11">
                  <c:v>44213</c:v>
                </c:pt>
                <c:pt idx="12">
                  <c:v>44214</c:v>
                </c:pt>
                <c:pt idx="13">
                  <c:v>44215</c:v>
                </c:pt>
                <c:pt idx="14">
                  <c:v>44216</c:v>
                </c:pt>
                <c:pt idx="15">
                  <c:v>44217</c:v>
                </c:pt>
                <c:pt idx="16">
                  <c:v>44218</c:v>
                </c:pt>
                <c:pt idx="17">
                  <c:v>44219</c:v>
                </c:pt>
                <c:pt idx="18">
                  <c:v>44220</c:v>
                </c:pt>
                <c:pt idx="19">
                  <c:v>44221</c:v>
                </c:pt>
                <c:pt idx="20">
                  <c:v>44222</c:v>
                </c:pt>
                <c:pt idx="21">
                  <c:v>44223</c:v>
                </c:pt>
                <c:pt idx="22">
                  <c:v>44224</c:v>
                </c:pt>
                <c:pt idx="23">
                  <c:v>44225</c:v>
                </c:pt>
                <c:pt idx="24">
                  <c:v>44226</c:v>
                </c:pt>
                <c:pt idx="25">
                  <c:v>44227</c:v>
                </c:pt>
                <c:pt idx="26">
                  <c:v>44228</c:v>
                </c:pt>
                <c:pt idx="27">
                  <c:v>44229</c:v>
                </c:pt>
                <c:pt idx="28">
                  <c:v>44230</c:v>
                </c:pt>
                <c:pt idx="29">
                  <c:v>44231</c:v>
                </c:pt>
                <c:pt idx="30">
                  <c:v>44232</c:v>
                </c:pt>
                <c:pt idx="31">
                  <c:v>44233</c:v>
                </c:pt>
                <c:pt idx="32">
                  <c:v>44234</c:v>
                </c:pt>
                <c:pt idx="33">
                  <c:v>44235</c:v>
                </c:pt>
                <c:pt idx="34">
                  <c:v>44236</c:v>
                </c:pt>
                <c:pt idx="35">
                  <c:v>44237</c:v>
                </c:pt>
                <c:pt idx="36">
                  <c:v>44238</c:v>
                </c:pt>
                <c:pt idx="37">
                  <c:v>44239</c:v>
                </c:pt>
                <c:pt idx="38">
                  <c:v>44240</c:v>
                </c:pt>
                <c:pt idx="39">
                  <c:v>44241</c:v>
                </c:pt>
                <c:pt idx="40">
                  <c:v>44242</c:v>
                </c:pt>
                <c:pt idx="41">
                  <c:v>44243</c:v>
                </c:pt>
                <c:pt idx="42">
                  <c:v>44244</c:v>
                </c:pt>
                <c:pt idx="43">
                  <c:v>44245</c:v>
                </c:pt>
                <c:pt idx="44">
                  <c:v>44246</c:v>
                </c:pt>
                <c:pt idx="45">
                  <c:v>44247</c:v>
                </c:pt>
                <c:pt idx="46">
                  <c:v>44248</c:v>
                </c:pt>
                <c:pt idx="47">
                  <c:v>44249</c:v>
                </c:pt>
                <c:pt idx="48">
                  <c:v>44250</c:v>
                </c:pt>
                <c:pt idx="49">
                  <c:v>44251</c:v>
                </c:pt>
                <c:pt idx="50">
                  <c:v>44252</c:v>
                </c:pt>
                <c:pt idx="51">
                  <c:v>44253</c:v>
                </c:pt>
                <c:pt idx="52">
                  <c:v>44254</c:v>
                </c:pt>
                <c:pt idx="53">
                  <c:v>44255</c:v>
                </c:pt>
                <c:pt idx="54">
                  <c:v>44256</c:v>
                </c:pt>
                <c:pt idx="55">
                  <c:v>44257</c:v>
                </c:pt>
                <c:pt idx="56">
                  <c:v>44258</c:v>
                </c:pt>
                <c:pt idx="57">
                  <c:v>44259</c:v>
                </c:pt>
                <c:pt idx="58">
                  <c:v>44260</c:v>
                </c:pt>
                <c:pt idx="59">
                  <c:v>44261</c:v>
                </c:pt>
                <c:pt idx="60">
                  <c:v>44262</c:v>
                </c:pt>
                <c:pt idx="61">
                  <c:v>44263</c:v>
                </c:pt>
                <c:pt idx="62">
                  <c:v>44264</c:v>
                </c:pt>
                <c:pt idx="63">
                  <c:v>44265</c:v>
                </c:pt>
                <c:pt idx="64">
                  <c:v>44266</c:v>
                </c:pt>
                <c:pt idx="65">
                  <c:v>44267</c:v>
                </c:pt>
                <c:pt idx="66">
                  <c:v>44268</c:v>
                </c:pt>
                <c:pt idx="67">
                  <c:v>44269</c:v>
                </c:pt>
                <c:pt idx="68">
                  <c:v>44270</c:v>
                </c:pt>
                <c:pt idx="69">
                  <c:v>44271</c:v>
                </c:pt>
                <c:pt idx="70">
                  <c:v>44272</c:v>
                </c:pt>
                <c:pt idx="71">
                  <c:v>44273</c:v>
                </c:pt>
                <c:pt idx="72">
                  <c:v>44274</c:v>
                </c:pt>
                <c:pt idx="73">
                  <c:v>44275</c:v>
                </c:pt>
                <c:pt idx="74">
                  <c:v>44276</c:v>
                </c:pt>
                <c:pt idx="75">
                  <c:v>44277</c:v>
                </c:pt>
                <c:pt idx="76">
                  <c:v>44278</c:v>
                </c:pt>
                <c:pt idx="77">
                  <c:v>44279</c:v>
                </c:pt>
                <c:pt idx="78">
                  <c:v>44280</c:v>
                </c:pt>
                <c:pt idx="79">
                  <c:v>44281</c:v>
                </c:pt>
                <c:pt idx="80">
                  <c:v>44282</c:v>
                </c:pt>
                <c:pt idx="81">
                  <c:v>44283</c:v>
                </c:pt>
                <c:pt idx="82">
                  <c:v>44284</c:v>
                </c:pt>
                <c:pt idx="83">
                  <c:v>44285</c:v>
                </c:pt>
                <c:pt idx="84">
                  <c:v>44286</c:v>
                </c:pt>
                <c:pt idx="85">
                  <c:v>44287</c:v>
                </c:pt>
                <c:pt idx="86">
                  <c:v>44288</c:v>
                </c:pt>
                <c:pt idx="87">
                  <c:v>44289</c:v>
                </c:pt>
                <c:pt idx="88">
                  <c:v>44290</c:v>
                </c:pt>
                <c:pt idx="89">
                  <c:v>44291</c:v>
                </c:pt>
                <c:pt idx="90">
                  <c:v>44292</c:v>
                </c:pt>
                <c:pt idx="91">
                  <c:v>44293</c:v>
                </c:pt>
                <c:pt idx="92">
                  <c:v>44294</c:v>
                </c:pt>
                <c:pt idx="93">
                  <c:v>44295</c:v>
                </c:pt>
                <c:pt idx="94">
                  <c:v>44296</c:v>
                </c:pt>
                <c:pt idx="95">
                  <c:v>44297</c:v>
                </c:pt>
                <c:pt idx="96">
                  <c:v>44298</c:v>
                </c:pt>
                <c:pt idx="97">
                  <c:v>44299</c:v>
                </c:pt>
                <c:pt idx="98">
                  <c:v>44300</c:v>
                </c:pt>
                <c:pt idx="99">
                  <c:v>44301</c:v>
                </c:pt>
                <c:pt idx="100">
                  <c:v>44302</c:v>
                </c:pt>
                <c:pt idx="101">
                  <c:v>44303</c:v>
                </c:pt>
                <c:pt idx="102">
                  <c:v>44304</c:v>
                </c:pt>
                <c:pt idx="103">
                  <c:v>44305</c:v>
                </c:pt>
                <c:pt idx="104">
                  <c:v>44306</c:v>
                </c:pt>
                <c:pt idx="105">
                  <c:v>44307</c:v>
                </c:pt>
                <c:pt idx="106">
                  <c:v>44308</c:v>
                </c:pt>
                <c:pt idx="107">
                  <c:v>44309</c:v>
                </c:pt>
                <c:pt idx="108">
                  <c:v>44310</c:v>
                </c:pt>
                <c:pt idx="109">
                  <c:v>44311</c:v>
                </c:pt>
                <c:pt idx="110">
                  <c:v>44312</c:v>
                </c:pt>
                <c:pt idx="111">
                  <c:v>44313</c:v>
                </c:pt>
                <c:pt idx="112">
                  <c:v>44314</c:v>
                </c:pt>
                <c:pt idx="113">
                  <c:v>44315</c:v>
                </c:pt>
                <c:pt idx="114">
                  <c:v>44316</c:v>
                </c:pt>
                <c:pt idx="115">
                  <c:v>44317</c:v>
                </c:pt>
              </c:numCache>
            </c:numRef>
          </c:cat>
          <c:val>
            <c:numRef>
              <c:f>Sheet1!$B$2:$B$228</c:f>
              <c:numCache>
                <c:formatCode>General</c:formatCode>
                <c:ptCount val="227"/>
                <c:pt idx="0">
                  <c:v>17771</c:v>
                </c:pt>
                <c:pt idx="1">
                  <c:v>14882</c:v>
                </c:pt>
                <c:pt idx="2">
                  <c:v>13099</c:v>
                </c:pt>
                <c:pt idx="3">
                  <c:v>8438</c:v>
                </c:pt>
                <c:pt idx="4">
                  <c:v>4313</c:v>
                </c:pt>
                <c:pt idx="5">
                  <c:v>9386</c:v>
                </c:pt>
                <c:pt idx="6">
                  <c:v>10811</c:v>
                </c:pt>
                <c:pt idx="7">
                  <c:v>10920</c:v>
                </c:pt>
                <c:pt idx="8">
                  <c:v>8088</c:v>
                </c:pt>
                <c:pt idx="9">
                  <c:v>9301</c:v>
                </c:pt>
                <c:pt idx="10">
                  <c:v>5242</c:v>
                </c:pt>
                <c:pt idx="11">
                  <c:v>2641</c:v>
                </c:pt>
                <c:pt idx="12">
                  <c:v>7668</c:v>
                </c:pt>
                <c:pt idx="13">
                  <c:v>9610</c:v>
                </c:pt>
                <c:pt idx="14">
                  <c:v>8215</c:v>
                </c:pt>
                <c:pt idx="15">
                  <c:v>7534</c:v>
                </c:pt>
                <c:pt idx="16">
                  <c:v>8468</c:v>
                </c:pt>
                <c:pt idx="17">
                  <c:v>4239</c:v>
                </c:pt>
                <c:pt idx="18">
                  <c:v>2394</c:v>
                </c:pt>
                <c:pt idx="19">
                  <c:v>6974</c:v>
                </c:pt>
                <c:pt idx="20">
                  <c:v>9195</c:v>
                </c:pt>
                <c:pt idx="21">
                  <c:v>8504</c:v>
                </c:pt>
                <c:pt idx="22">
                  <c:v>8010</c:v>
                </c:pt>
                <c:pt idx="23">
                  <c:v>8053</c:v>
                </c:pt>
                <c:pt idx="24">
                  <c:v>4055</c:v>
                </c:pt>
                <c:pt idx="25">
                  <c:v>2573</c:v>
                </c:pt>
                <c:pt idx="26">
                  <c:v>7217</c:v>
                </c:pt>
                <c:pt idx="27">
                  <c:v>9148</c:v>
                </c:pt>
                <c:pt idx="28">
                  <c:v>9667</c:v>
                </c:pt>
                <c:pt idx="29">
                  <c:v>8107</c:v>
                </c:pt>
                <c:pt idx="30">
                  <c:v>8622</c:v>
                </c:pt>
                <c:pt idx="31">
                  <c:v>4820</c:v>
                </c:pt>
                <c:pt idx="32">
                  <c:v>2451</c:v>
                </c:pt>
                <c:pt idx="33">
                  <c:v>7777</c:v>
                </c:pt>
                <c:pt idx="34">
                  <c:v>10283</c:v>
                </c:pt>
                <c:pt idx="35">
                  <c:v>9538</c:v>
                </c:pt>
                <c:pt idx="36">
                  <c:v>9018</c:v>
                </c:pt>
                <c:pt idx="37">
                  <c:v>8830</c:v>
                </c:pt>
                <c:pt idx="38">
                  <c:v>5141</c:v>
                </c:pt>
                <c:pt idx="39">
                  <c:v>2880</c:v>
                </c:pt>
                <c:pt idx="40">
                  <c:v>8905</c:v>
                </c:pt>
                <c:pt idx="41">
                  <c:v>12608</c:v>
                </c:pt>
                <c:pt idx="42">
                  <c:v>10939</c:v>
                </c:pt>
                <c:pt idx="43">
                  <c:v>11704</c:v>
                </c:pt>
                <c:pt idx="44">
                  <c:v>11288</c:v>
                </c:pt>
                <c:pt idx="45">
                  <c:v>6775</c:v>
                </c:pt>
                <c:pt idx="46">
                  <c:v>4068</c:v>
                </c:pt>
                <c:pt idx="47">
                  <c:v>11410</c:v>
                </c:pt>
                <c:pt idx="48">
                  <c:v>15840</c:v>
                </c:pt>
                <c:pt idx="49">
                  <c:v>13796</c:v>
                </c:pt>
                <c:pt idx="50">
                  <c:v>14588</c:v>
                </c:pt>
                <c:pt idx="51">
                  <c:v>14775</c:v>
                </c:pt>
                <c:pt idx="52">
                  <c:v>7824</c:v>
                </c:pt>
                <c:pt idx="53">
                  <c:v>4587</c:v>
                </c:pt>
                <c:pt idx="54">
                  <c:v>12325</c:v>
                </c:pt>
                <c:pt idx="55">
                  <c:v>16778</c:v>
                </c:pt>
                <c:pt idx="56">
                  <c:v>15237</c:v>
                </c:pt>
                <c:pt idx="57">
                  <c:v>14648</c:v>
                </c:pt>
                <c:pt idx="58">
                  <c:v>13169</c:v>
                </c:pt>
                <c:pt idx="59">
                  <c:v>9130</c:v>
                </c:pt>
                <c:pt idx="60">
                  <c:v>3982</c:v>
                </c:pt>
                <c:pt idx="61">
                  <c:v>10653</c:v>
                </c:pt>
                <c:pt idx="62">
                  <c:v>15360</c:v>
                </c:pt>
                <c:pt idx="63">
                  <c:v>14535</c:v>
                </c:pt>
                <c:pt idx="64">
                  <c:v>11245</c:v>
                </c:pt>
                <c:pt idx="65">
                  <c:v>14960</c:v>
                </c:pt>
                <c:pt idx="66">
                  <c:v>6956</c:v>
                </c:pt>
                <c:pt idx="67">
                  <c:v>3332</c:v>
                </c:pt>
                <c:pt idx="68">
                  <c:v>10630</c:v>
                </c:pt>
                <c:pt idx="69">
                  <c:v>14028</c:v>
                </c:pt>
                <c:pt idx="70">
                  <c:v>12028</c:v>
                </c:pt>
                <c:pt idx="71">
                  <c:v>10660</c:v>
                </c:pt>
                <c:pt idx="72">
                  <c:v>9710</c:v>
                </c:pt>
                <c:pt idx="73">
                  <c:v>5466</c:v>
                </c:pt>
                <c:pt idx="74">
                  <c:v>2390</c:v>
                </c:pt>
                <c:pt idx="75">
                  <c:v>8240</c:v>
                </c:pt>
                <c:pt idx="76">
                  <c:v>10968</c:v>
                </c:pt>
                <c:pt idx="77">
                  <c:v>8847</c:v>
                </c:pt>
                <c:pt idx="78">
                  <c:v>7925</c:v>
                </c:pt>
                <c:pt idx="79">
                  <c:v>7711</c:v>
                </c:pt>
                <c:pt idx="80">
                  <c:v>3969</c:v>
                </c:pt>
                <c:pt idx="81">
                  <c:v>1744</c:v>
                </c:pt>
                <c:pt idx="82">
                  <c:v>6935</c:v>
                </c:pt>
                <c:pt idx="83">
                  <c:v>8630</c:v>
                </c:pt>
                <c:pt idx="84">
                  <c:v>7262</c:v>
                </c:pt>
                <c:pt idx="85">
                  <c:v>6245</c:v>
                </c:pt>
                <c:pt idx="86">
                  <c:v>3837</c:v>
                </c:pt>
                <c:pt idx="87">
                  <c:v>2160</c:v>
                </c:pt>
                <c:pt idx="88">
                  <c:v>1925</c:v>
                </c:pt>
                <c:pt idx="89">
                  <c:v>1419</c:v>
                </c:pt>
                <c:pt idx="90">
                  <c:v>5581</c:v>
                </c:pt>
                <c:pt idx="91">
                  <c:v>7051</c:v>
                </c:pt>
                <c:pt idx="92">
                  <c:v>5282</c:v>
                </c:pt>
                <c:pt idx="93">
                  <c:v>4819</c:v>
                </c:pt>
                <c:pt idx="94">
                  <c:v>2204</c:v>
                </c:pt>
                <c:pt idx="95">
                  <c:v>986</c:v>
                </c:pt>
                <c:pt idx="96">
                  <c:v>3868</c:v>
                </c:pt>
                <c:pt idx="97">
                  <c:v>5056</c:v>
                </c:pt>
                <c:pt idx="98">
                  <c:v>3715</c:v>
                </c:pt>
                <c:pt idx="99">
                  <c:v>3263</c:v>
                </c:pt>
                <c:pt idx="100">
                  <c:v>3215</c:v>
                </c:pt>
                <c:pt idx="101">
                  <c:v>1541</c:v>
                </c:pt>
                <c:pt idx="102">
                  <c:v>833</c:v>
                </c:pt>
                <c:pt idx="103">
                  <c:v>3340</c:v>
                </c:pt>
                <c:pt idx="104">
                  <c:v>3815</c:v>
                </c:pt>
                <c:pt idx="105">
                  <c:v>2951</c:v>
                </c:pt>
                <c:pt idx="106">
                  <c:v>2629</c:v>
                </c:pt>
                <c:pt idx="107">
                  <c:v>2601</c:v>
                </c:pt>
                <c:pt idx="108">
                  <c:v>1306</c:v>
                </c:pt>
                <c:pt idx="109">
                  <c:v>825</c:v>
                </c:pt>
                <c:pt idx="110">
                  <c:v>2579</c:v>
                </c:pt>
                <c:pt idx="111">
                  <c:v>3237</c:v>
                </c:pt>
                <c:pt idx="112">
                  <c:v>2488</c:v>
                </c:pt>
                <c:pt idx="113">
                  <c:v>2229</c:v>
                </c:pt>
                <c:pt idx="114">
                  <c:v>2169</c:v>
                </c:pt>
                <c:pt idx="115">
                  <c:v>11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7F-4BCE-A7C8-6C97C60523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8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25639816114128E-2"/>
          <c:y val="3.7414076378474583E-2"/>
          <c:w val="0.93069323165507978"/>
          <c:h val="0.81046931681231571"/>
        </c:manualLayout>
      </c:layout>
      <c:lineChart>
        <c:grouping val="standard"/>
        <c:varyColors val="0"/>
        <c:ser>
          <c:idx val="0"/>
          <c:order val="0"/>
          <c:tx>
            <c:v>0,0396628656420426</c:v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94</c:f>
              <c:numCache>
                <c:formatCode>m/d/yyyy</c:formatCode>
                <c:ptCount val="493"/>
                <c:pt idx="0">
                  <c:v>44076</c:v>
                </c:pt>
                <c:pt idx="1">
                  <c:v>44077</c:v>
                </c:pt>
                <c:pt idx="2">
                  <c:v>44078</c:v>
                </c:pt>
                <c:pt idx="3">
                  <c:v>44079</c:v>
                </c:pt>
                <c:pt idx="4">
                  <c:v>44080</c:v>
                </c:pt>
                <c:pt idx="5">
                  <c:v>44081</c:v>
                </c:pt>
                <c:pt idx="6">
                  <c:v>44082</c:v>
                </c:pt>
                <c:pt idx="7">
                  <c:v>44083</c:v>
                </c:pt>
                <c:pt idx="8">
                  <c:v>44084</c:v>
                </c:pt>
                <c:pt idx="9">
                  <c:v>44085</c:v>
                </c:pt>
                <c:pt idx="10">
                  <c:v>44086</c:v>
                </c:pt>
                <c:pt idx="11">
                  <c:v>44087</c:v>
                </c:pt>
                <c:pt idx="12">
                  <c:v>44088</c:v>
                </c:pt>
                <c:pt idx="13">
                  <c:v>44089</c:v>
                </c:pt>
                <c:pt idx="14">
                  <c:v>44090</c:v>
                </c:pt>
                <c:pt idx="15">
                  <c:v>44091</c:v>
                </c:pt>
                <c:pt idx="16">
                  <c:v>44092</c:v>
                </c:pt>
                <c:pt idx="17">
                  <c:v>44093</c:v>
                </c:pt>
                <c:pt idx="18">
                  <c:v>44094</c:v>
                </c:pt>
                <c:pt idx="19">
                  <c:v>44095</c:v>
                </c:pt>
                <c:pt idx="20">
                  <c:v>44096</c:v>
                </c:pt>
                <c:pt idx="21">
                  <c:v>44097</c:v>
                </c:pt>
                <c:pt idx="22">
                  <c:v>44098</c:v>
                </c:pt>
                <c:pt idx="23">
                  <c:v>44099</c:v>
                </c:pt>
                <c:pt idx="24">
                  <c:v>44100</c:v>
                </c:pt>
                <c:pt idx="25">
                  <c:v>44101</c:v>
                </c:pt>
                <c:pt idx="26">
                  <c:v>44102</c:v>
                </c:pt>
                <c:pt idx="27">
                  <c:v>44103</c:v>
                </c:pt>
                <c:pt idx="28">
                  <c:v>44104</c:v>
                </c:pt>
                <c:pt idx="29">
                  <c:v>44105</c:v>
                </c:pt>
                <c:pt idx="30">
                  <c:v>44106</c:v>
                </c:pt>
                <c:pt idx="31">
                  <c:v>44107</c:v>
                </c:pt>
                <c:pt idx="32">
                  <c:v>44108</c:v>
                </c:pt>
                <c:pt idx="33">
                  <c:v>44109</c:v>
                </c:pt>
                <c:pt idx="34">
                  <c:v>44110</c:v>
                </c:pt>
                <c:pt idx="35">
                  <c:v>44111</c:v>
                </c:pt>
                <c:pt idx="36">
                  <c:v>44112</c:v>
                </c:pt>
                <c:pt idx="37">
                  <c:v>44113</c:v>
                </c:pt>
                <c:pt idx="38">
                  <c:v>44114</c:v>
                </c:pt>
                <c:pt idx="39">
                  <c:v>44115</c:v>
                </c:pt>
                <c:pt idx="40">
                  <c:v>44116</c:v>
                </c:pt>
                <c:pt idx="41">
                  <c:v>44117</c:v>
                </c:pt>
                <c:pt idx="42">
                  <c:v>44118</c:v>
                </c:pt>
                <c:pt idx="43">
                  <c:v>44119</c:v>
                </c:pt>
                <c:pt idx="44">
                  <c:v>44120</c:v>
                </c:pt>
                <c:pt idx="45">
                  <c:v>44121</c:v>
                </c:pt>
                <c:pt idx="46">
                  <c:v>44122</c:v>
                </c:pt>
                <c:pt idx="47">
                  <c:v>44123</c:v>
                </c:pt>
                <c:pt idx="48">
                  <c:v>44124</c:v>
                </c:pt>
                <c:pt idx="49">
                  <c:v>44125</c:v>
                </c:pt>
                <c:pt idx="50">
                  <c:v>44126</c:v>
                </c:pt>
                <c:pt idx="51">
                  <c:v>44127</c:v>
                </c:pt>
                <c:pt idx="52">
                  <c:v>44128</c:v>
                </c:pt>
                <c:pt idx="53">
                  <c:v>44129</c:v>
                </c:pt>
                <c:pt idx="54">
                  <c:v>44130</c:v>
                </c:pt>
                <c:pt idx="55">
                  <c:v>44131</c:v>
                </c:pt>
                <c:pt idx="56">
                  <c:v>44132</c:v>
                </c:pt>
                <c:pt idx="57">
                  <c:v>44133</c:v>
                </c:pt>
                <c:pt idx="58">
                  <c:v>44134</c:v>
                </c:pt>
                <c:pt idx="59">
                  <c:v>44135</c:v>
                </c:pt>
                <c:pt idx="60">
                  <c:v>44136</c:v>
                </c:pt>
                <c:pt idx="61">
                  <c:v>44137</c:v>
                </c:pt>
                <c:pt idx="62">
                  <c:v>44138</c:v>
                </c:pt>
                <c:pt idx="63">
                  <c:v>44139</c:v>
                </c:pt>
                <c:pt idx="64">
                  <c:v>44140</c:v>
                </c:pt>
                <c:pt idx="65">
                  <c:v>44141</c:v>
                </c:pt>
                <c:pt idx="66">
                  <c:v>44142</c:v>
                </c:pt>
                <c:pt idx="67">
                  <c:v>44143</c:v>
                </c:pt>
                <c:pt idx="68">
                  <c:v>44144</c:v>
                </c:pt>
                <c:pt idx="69">
                  <c:v>44145</c:v>
                </c:pt>
                <c:pt idx="70">
                  <c:v>44146</c:v>
                </c:pt>
                <c:pt idx="71">
                  <c:v>44147</c:v>
                </c:pt>
                <c:pt idx="72">
                  <c:v>44148</c:v>
                </c:pt>
                <c:pt idx="73">
                  <c:v>44149</c:v>
                </c:pt>
                <c:pt idx="74">
                  <c:v>44150</c:v>
                </c:pt>
                <c:pt idx="75">
                  <c:v>44151</c:v>
                </c:pt>
                <c:pt idx="76">
                  <c:v>44152</c:v>
                </c:pt>
                <c:pt idx="77">
                  <c:v>44153</c:v>
                </c:pt>
                <c:pt idx="78">
                  <c:v>44154</c:v>
                </c:pt>
                <c:pt idx="79">
                  <c:v>44155</c:v>
                </c:pt>
                <c:pt idx="80">
                  <c:v>44156</c:v>
                </c:pt>
                <c:pt idx="81">
                  <c:v>44157</c:v>
                </c:pt>
                <c:pt idx="82">
                  <c:v>44158</c:v>
                </c:pt>
                <c:pt idx="83">
                  <c:v>44159</c:v>
                </c:pt>
                <c:pt idx="84">
                  <c:v>44160</c:v>
                </c:pt>
                <c:pt idx="85">
                  <c:v>44161</c:v>
                </c:pt>
                <c:pt idx="86">
                  <c:v>44162</c:v>
                </c:pt>
                <c:pt idx="87">
                  <c:v>44163</c:v>
                </c:pt>
                <c:pt idx="88">
                  <c:v>44164</c:v>
                </c:pt>
                <c:pt idx="89">
                  <c:v>44165</c:v>
                </c:pt>
                <c:pt idx="90">
                  <c:v>44166</c:v>
                </c:pt>
                <c:pt idx="91">
                  <c:v>44167</c:v>
                </c:pt>
                <c:pt idx="92">
                  <c:v>44168</c:v>
                </c:pt>
                <c:pt idx="93">
                  <c:v>44169</c:v>
                </c:pt>
                <c:pt idx="94">
                  <c:v>44170</c:v>
                </c:pt>
                <c:pt idx="95">
                  <c:v>44171</c:v>
                </c:pt>
                <c:pt idx="96">
                  <c:v>44172</c:v>
                </c:pt>
                <c:pt idx="97">
                  <c:v>44173</c:v>
                </c:pt>
                <c:pt idx="98">
                  <c:v>44174</c:v>
                </c:pt>
                <c:pt idx="99">
                  <c:v>44175</c:v>
                </c:pt>
                <c:pt idx="100">
                  <c:v>44176</c:v>
                </c:pt>
                <c:pt idx="101">
                  <c:v>44177</c:v>
                </c:pt>
                <c:pt idx="102">
                  <c:v>44178</c:v>
                </c:pt>
                <c:pt idx="103">
                  <c:v>44179</c:v>
                </c:pt>
                <c:pt idx="104">
                  <c:v>44180</c:v>
                </c:pt>
                <c:pt idx="105">
                  <c:v>44181</c:v>
                </c:pt>
                <c:pt idx="106">
                  <c:v>44182</c:v>
                </c:pt>
                <c:pt idx="107">
                  <c:v>44183</c:v>
                </c:pt>
                <c:pt idx="108">
                  <c:v>44184</c:v>
                </c:pt>
                <c:pt idx="109">
                  <c:v>44185</c:v>
                </c:pt>
                <c:pt idx="110">
                  <c:v>44186</c:v>
                </c:pt>
                <c:pt idx="111">
                  <c:v>44187</c:v>
                </c:pt>
                <c:pt idx="112">
                  <c:v>44188</c:v>
                </c:pt>
                <c:pt idx="113">
                  <c:v>44189</c:v>
                </c:pt>
                <c:pt idx="114">
                  <c:v>44190</c:v>
                </c:pt>
                <c:pt idx="115">
                  <c:v>44191</c:v>
                </c:pt>
                <c:pt idx="116">
                  <c:v>44192</c:v>
                </c:pt>
                <c:pt idx="117">
                  <c:v>44193</c:v>
                </c:pt>
                <c:pt idx="118">
                  <c:v>44194</c:v>
                </c:pt>
                <c:pt idx="119">
                  <c:v>44195</c:v>
                </c:pt>
                <c:pt idx="120">
                  <c:v>44196</c:v>
                </c:pt>
                <c:pt idx="121">
                  <c:v>44197</c:v>
                </c:pt>
                <c:pt idx="122">
                  <c:v>44198</c:v>
                </c:pt>
                <c:pt idx="123">
                  <c:v>44199</c:v>
                </c:pt>
                <c:pt idx="124">
                  <c:v>44200</c:v>
                </c:pt>
                <c:pt idx="125">
                  <c:v>44201</c:v>
                </c:pt>
                <c:pt idx="126">
                  <c:v>44202</c:v>
                </c:pt>
                <c:pt idx="127">
                  <c:v>44203</c:v>
                </c:pt>
                <c:pt idx="128">
                  <c:v>44204</c:v>
                </c:pt>
                <c:pt idx="129">
                  <c:v>44205</c:v>
                </c:pt>
                <c:pt idx="130">
                  <c:v>44206</c:v>
                </c:pt>
                <c:pt idx="131">
                  <c:v>44207</c:v>
                </c:pt>
                <c:pt idx="132">
                  <c:v>44208</c:v>
                </c:pt>
                <c:pt idx="133">
                  <c:v>44209</c:v>
                </c:pt>
                <c:pt idx="134">
                  <c:v>44210</c:v>
                </c:pt>
                <c:pt idx="135">
                  <c:v>44211</c:v>
                </c:pt>
                <c:pt idx="136">
                  <c:v>44212</c:v>
                </c:pt>
                <c:pt idx="137">
                  <c:v>44213</c:v>
                </c:pt>
                <c:pt idx="138">
                  <c:v>44214</c:v>
                </c:pt>
                <c:pt idx="139">
                  <c:v>44215</c:v>
                </c:pt>
                <c:pt idx="140">
                  <c:v>44216</c:v>
                </c:pt>
                <c:pt idx="141">
                  <c:v>44217</c:v>
                </c:pt>
                <c:pt idx="142">
                  <c:v>44218</c:v>
                </c:pt>
                <c:pt idx="143">
                  <c:v>44219</c:v>
                </c:pt>
                <c:pt idx="144">
                  <c:v>44220</c:v>
                </c:pt>
                <c:pt idx="145">
                  <c:v>44221</c:v>
                </c:pt>
                <c:pt idx="146">
                  <c:v>44222</c:v>
                </c:pt>
                <c:pt idx="147">
                  <c:v>44223</c:v>
                </c:pt>
                <c:pt idx="148">
                  <c:v>44224</c:v>
                </c:pt>
                <c:pt idx="149">
                  <c:v>44225</c:v>
                </c:pt>
                <c:pt idx="150">
                  <c:v>44226</c:v>
                </c:pt>
                <c:pt idx="151">
                  <c:v>44227</c:v>
                </c:pt>
                <c:pt idx="152">
                  <c:v>44228</c:v>
                </c:pt>
                <c:pt idx="153">
                  <c:v>44229</c:v>
                </c:pt>
                <c:pt idx="154">
                  <c:v>44230</c:v>
                </c:pt>
                <c:pt idx="155">
                  <c:v>44231</c:v>
                </c:pt>
                <c:pt idx="156">
                  <c:v>44232</c:v>
                </c:pt>
                <c:pt idx="157">
                  <c:v>44233</c:v>
                </c:pt>
                <c:pt idx="158">
                  <c:v>44234</c:v>
                </c:pt>
                <c:pt idx="159">
                  <c:v>44235</c:v>
                </c:pt>
                <c:pt idx="160">
                  <c:v>44236</c:v>
                </c:pt>
                <c:pt idx="161">
                  <c:v>44237</c:v>
                </c:pt>
                <c:pt idx="162">
                  <c:v>44238</c:v>
                </c:pt>
                <c:pt idx="163">
                  <c:v>44239</c:v>
                </c:pt>
                <c:pt idx="164">
                  <c:v>44240</c:v>
                </c:pt>
                <c:pt idx="165">
                  <c:v>44241</c:v>
                </c:pt>
                <c:pt idx="166">
                  <c:v>44242</c:v>
                </c:pt>
                <c:pt idx="167">
                  <c:v>44243</c:v>
                </c:pt>
                <c:pt idx="168">
                  <c:v>44244</c:v>
                </c:pt>
                <c:pt idx="169">
                  <c:v>44245</c:v>
                </c:pt>
                <c:pt idx="170">
                  <c:v>44246</c:v>
                </c:pt>
                <c:pt idx="171">
                  <c:v>44247</c:v>
                </c:pt>
                <c:pt idx="172">
                  <c:v>44248</c:v>
                </c:pt>
                <c:pt idx="173">
                  <c:v>44249</c:v>
                </c:pt>
                <c:pt idx="174">
                  <c:v>44250</c:v>
                </c:pt>
                <c:pt idx="175">
                  <c:v>44251</c:v>
                </c:pt>
                <c:pt idx="176">
                  <c:v>44252</c:v>
                </c:pt>
                <c:pt idx="177">
                  <c:v>44253</c:v>
                </c:pt>
                <c:pt idx="178">
                  <c:v>44254</c:v>
                </c:pt>
                <c:pt idx="179">
                  <c:v>44255</c:v>
                </c:pt>
                <c:pt idx="180">
                  <c:v>44256</c:v>
                </c:pt>
                <c:pt idx="181">
                  <c:v>44257</c:v>
                </c:pt>
                <c:pt idx="182">
                  <c:v>44258</c:v>
                </c:pt>
                <c:pt idx="183">
                  <c:v>44259</c:v>
                </c:pt>
                <c:pt idx="184">
                  <c:v>44260</c:v>
                </c:pt>
                <c:pt idx="185">
                  <c:v>44261</c:v>
                </c:pt>
                <c:pt idx="186">
                  <c:v>44262</c:v>
                </c:pt>
                <c:pt idx="187">
                  <c:v>44263</c:v>
                </c:pt>
                <c:pt idx="188">
                  <c:v>44264</c:v>
                </c:pt>
                <c:pt idx="189">
                  <c:v>44265</c:v>
                </c:pt>
                <c:pt idx="190">
                  <c:v>44266</c:v>
                </c:pt>
                <c:pt idx="191">
                  <c:v>44267</c:v>
                </c:pt>
                <c:pt idx="192">
                  <c:v>44268</c:v>
                </c:pt>
                <c:pt idx="193">
                  <c:v>44269</c:v>
                </c:pt>
                <c:pt idx="194">
                  <c:v>44270</c:v>
                </c:pt>
                <c:pt idx="195">
                  <c:v>44271</c:v>
                </c:pt>
                <c:pt idx="196">
                  <c:v>44272</c:v>
                </c:pt>
                <c:pt idx="197">
                  <c:v>44273</c:v>
                </c:pt>
                <c:pt idx="198">
                  <c:v>44274</c:v>
                </c:pt>
                <c:pt idx="199">
                  <c:v>44275</c:v>
                </c:pt>
                <c:pt idx="200">
                  <c:v>44276</c:v>
                </c:pt>
                <c:pt idx="201">
                  <c:v>44277</c:v>
                </c:pt>
                <c:pt idx="202">
                  <c:v>44278</c:v>
                </c:pt>
                <c:pt idx="203">
                  <c:v>44279</c:v>
                </c:pt>
                <c:pt idx="204">
                  <c:v>44280</c:v>
                </c:pt>
                <c:pt idx="205">
                  <c:v>44281</c:v>
                </c:pt>
                <c:pt idx="206">
                  <c:v>44282</c:v>
                </c:pt>
                <c:pt idx="207">
                  <c:v>44283</c:v>
                </c:pt>
                <c:pt idx="208">
                  <c:v>44284</c:v>
                </c:pt>
                <c:pt idx="209">
                  <c:v>44285</c:v>
                </c:pt>
                <c:pt idx="210">
                  <c:v>44286</c:v>
                </c:pt>
                <c:pt idx="211">
                  <c:v>44287</c:v>
                </c:pt>
                <c:pt idx="212">
                  <c:v>44288</c:v>
                </c:pt>
                <c:pt idx="213">
                  <c:v>44289</c:v>
                </c:pt>
                <c:pt idx="214">
                  <c:v>44290</c:v>
                </c:pt>
                <c:pt idx="215">
                  <c:v>44291</c:v>
                </c:pt>
                <c:pt idx="216">
                  <c:v>44292</c:v>
                </c:pt>
                <c:pt idx="217">
                  <c:v>44293</c:v>
                </c:pt>
                <c:pt idx="218">
                  <c:v>44294</c:v>
                </c:pt>
                <c:pt idx="219">
                  <c:v>44295</c:v>
                </c:pt>
                <c:pt idx="220">
                  <c:v>44296</c:v>
                </c:pt>
                <c:pt idx="221">
                  <c:v>44297</c:v>
                </c:pt>
                <c:pt idx="222">
                  <c:v>44298</c:v>
                </c:pt>
                <c:pt idx="223">
                  <c:v>44299</c:v>
                </c:pt>
                <c:pt idx="224">
                  <c:v>44300</c:v>
                </c:pt>
                <c:pt idx="225">
                  <c:v>44301</c:v>
                </c:pt>
                <c:pt idx="226">
                  <c:v>44302</c:v>
                </c:pt>
                <c:pt idx="227">
                  <c:v>44303</c:v>
                </c:pt>
                <c:pt idx="228">
                  <c:v>44304</c:v>
                </c:pt>
                <c:pt idx="229">
                  <c:v>44305</c:v>
                </c:pt>
                <c:pt idx="230">
                  <c:v>44306</c:v>
                </c:pt>
                <c:pt idx="231">
                  <c:v>44307</c:v>
                </c:pt>
                <c:pt idx="232">
                  <c:v>44308</c:v>
                </c:pt>
                <c:pt idx="233">
                  <c:v>44309</c:v>
                </c:pt>
                <c:pt idx="234">
                  <c:v>44310</c:v>
                </c:pt>
                <c:pt idx="235">
                  <c:v>44311</c:v>
                </c:pt>
                <c:pt idx="236">
                  <c:v>44312</c:v>
                </c:pt>
                <c:pt idx="237">
                  <c:v>44313</c:v>
                </c:pt>
                <c:pt idx="238">
                  <c:v>44314</c:v>
                </c:pt>
                <c:pt idx="239">
                  <c:v>44315</c:v>
                </c:pt>
                <c:pt idx="240">
                  <c:v>44316</c:v>
                </c:pt>
                <c:pt idx="241">
                  <c:v>44317</c:v>
                </c:pt>
                <c:pt idx="242">
                  <c:v>44318</c:v>
                </c:pt>
              </c:numCache>
            </c:numRef>
          </c:cat>
          <c:val>
            <c:numRef>
              <c:f>Sheet1!$B$2:$B$494</c:f>
              <c:numCache>
                <c:formatCode>General</c:formatCode>
                <c:ptCount val="493"/>
                <c:pt idx="0">
                  <c:v>5.4129724685020995E-2</c:v>
                </c:pt>
                <c:pt idx="1">
                  <c:v>6.2588235294117653E-2</c:v>
                </c:pt>
                <c:pt idx="2">
                  <c:v>6.8431001890359167E-2</c:v>
                </c:pt>
                <c:pt idx="3">
                  <c:v>6.584362139917696E-2</c:v>
                </c:pt>
                <c:pt idx="4">
                  <c:v>8.191126279863481E-2</c:v>
                </c:pt>
                <c:pt idx="5">
                  <c:v>5.0456720313179645E-2</c:v>
                </c:pt>
                <c:pt idx="6">
                  <c:v>6.8321078431372542E-2</c:v>
                </c:pt>
                <c:pt idx="7">
                  <c:v>8.0728376327769344E-2</c:v>
                </c:pt>
                <c:pt idx="8">
                  <c:v>8.5395051875498798E-2</c:v>
                </c:pt>
                <c:pt idx="9">
                  <c:v>7.4924611459058224E-2</c:v>
                </c:pt>
                <c:pt idx="10">
                  <c:v>0.10526315789473684</c:v>
                </c:pt>
                <c:pt idx="11">
                  <c:v>0.10736196319018405</c:v>
                </c:pt>
                <c:pt idx="12">
                  <c:v>5.8660624370594161E-2</c:v>
                </c:pt>
                <c:pt idx="13">
                  <c:v>8.5790884718498661E-2</c:v>
                </c:pt>
                <c:pt idx="14">
                  <c:v>0.10559770350625385</c:v>
                </c:pt>
                <c:pt idx="15">
                  <c:v>0.12380276693863072</c:v>
                </c:pt>
                <c:pt idx="16">
                  <c:v>9.2182890855457222E-2</c:v>
                </c:pt>
                <c:pt idx="17">
                  <c:v>0.11225296442687747</c:v>
                </c:pt>
                <c:pt idx="18">
                  <c:v>8.5988483685220732E-2</c:v>
                </c:pt>
                <c:pt idx="19">
                  <c:v>8.3838821490467938E-2</c:v>
                </c:pt>
                <c:pt idx="20">
                  <c:v>9.9114064230343302E-2</c:v>
                </c:pt>
                <c:pt idx="21">
                  <c:v>9.8701298701298706E-2</c:v>
                </c:pt>
                <c:pt idx="22">
                  <c:v>0.12098266868584889</c:v>
                </c:pt>
                <c:pt idx="23">
                  <c:v>0.11536679536679537</c:v>
                </c:pt>
                <c:pt idx="24">
                  <c:v>0.12611717974180736</c:v>
                </c:pt>
                <c:pt idx="25">
                  <c:v>0.11964873765093303</c:v>
                </c:pt>
                <c:pt idx="26">
                  <c:v>0.10077312716608905</c:v>
                </c:pt>
                <c:pt idx="27">
                  <c:v>0.1085435658257367</c:v>
                </c:pt>
                <c:pt idx="28">
                  <c:v>0.12975477891484843</c:v>
                </c:pt>
                <c:pt idx="29">
                  <c:v>0.14078640453182273</c:v>
                </c:pt>
                <c:pt idx="30">
                  <c:v>0.16186440677966102</c:v>
                </c:pt>
                <c:pt idx="31">
                  <c:v>0.16356164383561644</c:v>
                </c:pt>
                <c:pt idx="32">
                  <c:v>0.23152995927865039</c:v>
                </c:pt>
                <c:pt idx="33">
                  <c:v>0.1822328931572629</c:v>
                </c:pt>
                <c:pt idx="34">
                  <c:v>0.17519685039370078</c:v>
                </c:pt>
                <c:pt idx="35">
                  <c:v>0.20608817354793563</c:v>
                </c:pt>
                <c:pt idx="36">
                  <c:v>0.19839276745354092</c:v>
                </c:pt>
                <c:pt idx="37">
                  <c:v>0.27813620071684586</c:v>
                </c:pt>
                <c:pt idx="38">
                  <c:v>0.24006742114134361</c:v>
                </c:pt>
                <c:pt idx="39">
                  <c:v>0.23106457242582898</c:v>
                </c:pt>
                <c:pt idx="40">
                  <c:v>0.20369255468593217</c:v>
                </c:pt>
                <c:pt idx="41">
                  <c:v>0.22782530391715444</c:v>
                </c:pt>
                <c:pt idx="42">
                  <c:v>0.23360168932295103</c:v>
                </c:pt>
                <c:pt idx="43">
                  <c:v>0.23579989577905158</c:v>
                </c:pt>
                <c:pt idx="44">
                  <c:v>0.25407443444417416</c:v>
                </c:pt>
                <c:pt idx="45">
                  <c:v>0.24055605923239651</c:v>
                </c:pt>
                <c:pt idx="46">
                  <c:v>0.24477880080844375</c:v>
                </c:pt>
                <c:pt idx="47">
                  <c:v>0.235014409221902</c:v>
                </c:pt>
                <c:pt idx="48">
                  <c:v>0.23947256486601445</c:v>
                </c:pt>
                <c:pt idx="49">
                  <c:v>0.27629746541639588</c:v>
                </c:pt>
                <c:pt idx="50">
                  <c:v>0.25791736117203262</c:v>
                </c:pt>
                <c:pt idx="51">
                  <c:v>0.27663169126800641</c:v>
                </c:pt>
                <c:pt idx="52">
                  <c:v>0.2555</c:v>
                </c:pt>
                <c:pt idx="53">
                  <c:v>0.28082554242370789</c:v>
                </c:pt>
                <c:pt idx="54">
                  <c:v>0.25583889418493805</c:v>
                </c:pt>
                <c:pt idx="55">
                  <c:v>0.27217125382262997</c:v>
                </c:pt>
                <c:pt idx="56">
                  <c:v>0.2518624641833811</c:v>
                </c:pt>
                <c:pt idx="57">
                  <c:v>0.24027541804524724</c:v>
                </c:pt>
                <c:pt idx="58">
                  <c:v>0.2413139063712389</c:v>
                </c:pt>
                <c:pt idx="59">
                  <c:v>0.25374698668902629</c:v>
                </c:pt>
                <c:pt idx="60">
                  <c:v>0.27670068027210887</c:v>
                </c:pt>
                <c:pt idx="61">
                  <c:v>0.22704211060375443</c:v>
                </c:pt>
                <c:pt idx="62">
                  <c:v>0.22542805789423895</c:v>
                </c:pt>
                <c:pt idx="63">
                  <c:v>0.27462219906201146</c:v>
                </c:pt>
                <c:pt idx="64">
                  <c:v>0.24399344739716053</c:v>
                </c:pt>
                <c:pt idx="65">
                  <c:v>0.25316578057032385</c:v>
                </c:pt>
                <c:pt idx="66">
                  <c:v>0.26287040830260822</c:v>
                </c:pt>
                <c:pt idx="67">
                  <c:v>0.23435696144077581</c:v>
                </c:pt>
                <c:pt idx="68">
                  <c:v>0.18821358551493483</c:v>
                </c:pt>
                <c:pt idx="69">
                  <c:v>0.20275627713800265</c:v>
                </c:pt>
                <c:pt idx="70">
                  <c:v>0.20531025092394475</c:v>
                </c:pt>
                <c:pt idx="71">
                  <c:v>0.20996912218791355</c:v>
                </c:pt>
                <c:pt idx="72">
                  <c:v>0.20715166461159062</c:v>
                </c:pt>
                <c:pt idx="73">
                  <c:v>0.23904124379183761</c:v>
                </c:pt>
                <c:pt idx="74">
                  <c:v>0.22129909365558911</c:v>
                </c:pt>
                <c:pt idx="75">
                  <c:v>0.15912297840008682</c:v>
                </c:pt>
                <c:pt idx="76">
                  <c:v>0.22205236002293138</c:v>
                </c:pt>
                <c:pt idx="77">
                  <c:v>0.18028970512157269</c:v>
                </c:pt>
                <c:pt idx="78">
                  <c:v>0.21090617481956697</c:v>
                </c:pt>
                <c:pt idx="79">
                  <c:v>0.21313506815365552</c:v>
                </c:pt>
                <c:pt idx="80">
                  <c:v>0.20410002252759629</c:v>
                </c:pt>
                <c:pt idx="81">
                  <c:v>0.21506211180124224</c:v>
                </c:pt>
                <c:pt idx="82">
                  <c:v>0.13207148144231787</c:v>
                </c:pt>
                <c:pt idx="83">
                  <c:v>0.1976775956284153</c:v>
                </c:pt>
                <c:pt idx="84">
                  <c:v>0.18221781055019853</c:v>
                </c:pt>
                <c:pt idx="85">
                  <c:v>0.16717667901433403</c:v>
                </c:pt>
                <c:pt idx="86">
                  <c:v>0.18464375082312656</c:v>
                </c:pt>
                <c:pt idx="87">
                  <c:v>0.224509108114502</c:v>
                </c:pt>
                <c:pt idx="88">
                  <c:v>0.20086914534041525</c:v>
                </c:pt>
                <c:pt idx="89">
                  <c:v>0.11306676870097571</c:v>
                </c:pt>
                <c:pt idx="90">
                  <c:v>0.19022793404461688</c:v>
                </c:pt>
                <c:pt idx="91">
                  <c:v>0.17848565288838325</c:v>
                </c:pt>
                <c:pt idx="92">
                  <c:v>0.19716175254891155</c:v>
                </c:pt>
                <c:pt idx="93">
                  <c:v>0.20014355784184712</c:v>
                </c:pt>
                <c:pt idx="94">
                  <c:v>0.2707488798805206</c:v>
                </c:pt>
                <c:pt idx="95">
                  <c:v>0.16526138279932545</c:v>
                </c:pt>
                <c:pt idx="96">
                  <c:v>0.13016490642949788</c:v>
                </c:pt>
                <c:pt idx="97">
                  <c:v>0.18793192367199588</c:v>
                </c:pt>
                <c:pt idx="98">
                  <c:v>0.19863013698630136</c:v>
                </c:pt>
                <c:pt idx="99">
                  <c:v>0.20523570917271705</c:v>
                </c:pt>
                <c:pt idx="100">
                  <c:v>0.18779764579027766</c:v>
                </c:pt>
                <c:pt idx="101">
                  <c:v>0.21020441010783841</c:v>
                </c:pt>
                <c:pt idx="102">
                  <c:v>0.21661998132586369</c:v>
                </c:pt>
                <c:pt idx="103">
                  <c:v>0.13884271352806143</c:v>
                </c:pt>
                <c:pt idx="104">
                  <c:v>0.19654238368387508</c:v>
                </c:pt>
                <c:pt idx="105">
                  <c:v>0.1827430293896006</c:v>
                </c:pt>
                <c:pt idx="106">
                  <c:v>0.1742266388844366</c:v>
                </c:pt>
                <c:pt idx="107">
                  <c:v>0.17967798674063049</c:v>
                </c:pt>
                <c:pt idx="108">
                  <c:v>0.17736430694704391</c:v>
                </c:pt>
                <c:pt idx="109">
                  <c:v>0.18764845605700711</c:v>
                </c:pt>
                <c:pt idx="110">
                  <c:v>0.14580403187998126</c:v>
                </c:pt>
                <c:pt idx="111">
                  <c:v>0.16990059008027217</c:v>
                </c:pt>
                <c:pt idx="112">
                  <c:v>0.18362851748628967</c:v>
                </c:pt>
                <c:pt idx="113">
                  <c:v>0.23651696411060993</c:v>
                </c:pt>
                <c:pt idx="114">
                  <c:v>0.21878824969400246</c:v>
                </c:pt>
                <c:pt idx="115">
                  <c:v>0.18677544010304853</c:v>
                </c:pt>
                <c:pt idx="116">
                  <c:v>0.19539234366880304</c:v>
                </c:pt>
                <c:pt idx="117">
                  <c:v>0.20307342060330108</c:v>
                </c:pt>
                <c:pt idx="118">
                  <c:v>0.26970932387356383</c:v>
                </c:pt>
                <c:pt idx="119">
                  <c:v>0.27140396688704926</c:v>
                </c:pt>
                <c:pt idx="120">
                  <c:v>0.30201683110853161</c:v>
                </c:pt>
                <c:pt idx="121">
                  <c:v>0.35702693930542034</c:v>
                </c:pt>
                <c:pt idx="122">
                  <c:v>0.20524713726627047</c:v>
                </c:pt>
                <c:pt idx="123">
                  <c:v>0.25960142536623992</c:v>
                </c:pt>
                <c:pt idx="124">
                  <c:v>0.19828436205876554</c:v>
                </c:pt>
                <c:pt idx="125">
                  <c:v>0.2501726689689196</c:v>
                </c:pt>
                <c:pt idx="126">
                  <c:v>0.29121699196326062</c:v>
                </c:pt>
                <c:pt idx="127">
                  <c:v>0.26259094241723535</c:v>
                </c:pt>
                <c:pt idx="128">
                  <c:v>0.22621156013524393</c:v>
                </c:pt>
                <c:pt idx="129">
                  <c:v>0.28345019690711748</c:v>
                </c:pt>
                <c:pt idx="130">
                  <c:v>0.23618634886240519</c:v>
                </c:pt>
                <c:pt idx="131">
                  <c:v>0.15735379270411118</c:v>
                </c:pt>
                <c:pt idx="132">
                  <c:v>0.20641533013955427</c:v>
                </c:pt>
                <c:pt idx="133">
                  <c:v>0.22904093217806992</c:v>
                </c:pt>
                <c:pt idx="134">
                  <c:v>0.18109196125298779</c:v>
                </c:pt>
                <c:pt idx="135">
                  <c:v>0.20987434803224278</c:v>
                </c:pt>
                <c:pt idx="136">
                  <c:v>0.24271519481969409</c:v>
                </c:pt>
                <c:pt idx="137">
                  <c:v>0.22506881219563837</c:v>
                </c:pt>
                <c:pt idx="138">
                  <c:v>0.16128679884209951</c:v>
                </c:pt>
                <c:pt idx="139">
                  <c:v>0.22323476535862624</c:v>
                </c:pt>
                <c:pt idx="140">
                  <c:v>0.20604156920403663</c:v>
                </c:pt>
                <c:pt idx="141">
                  <c:v>0.20132760051293655</c:v>
                </c:pt>
                <c:pt idx="142">
                  <c:v>0.19614069369809478</c:v>
                </c:pt>
                <c:pt idx="143">
                  <c:v>0.22672672672672672</c:v>
                </c:pt>
                <c:pt idx="144">
                  <c:v>0.2068820814099874</c:v>
                </c:pt>
                <c:pt idx="145">
                  <c:v>0.15082133213321333</c:v>
                </c:pt>
                <c:pt idx="146">
                  <c:v>0.22413793103448276</c:v>
                </c:pt>
                <c:pt idx="147">
                  <c:v>0.18566932946017914</c:v>
                </c:pt>
                <c:pt idx="148">
                  <c:v>0.22128053557438929</c:v>
                </c:pt>
                <c:pt idx="149">
                  <c:v>0.19315836036567385</c:v>
                </c:pt>
                <c:pt idx="150">
                  <c:v>0.20654473062087844</c:v>
                </c:pt>
                <c:pt idx="151">
                  <c:v>0.20569555418971522</c:v>
                </c:pt>
                <c:pt idx="152">
                  <c:v>0.15043169659409927</c:v>
                </c:pt>
                <c:pt idx="153">
                  <c:v>0.20090497737556562</c:v>
                </c:pt>
                <c:pt idx="154">
                  <c:v>0.21748087110064743</c:v>
                </c:pt>
                <c:pt idx="155">
                  <c:v>0.1940928270042194</c:v>
                </c:pt>
                <c:pt idx="156">
                  <c:v>0.19101697802509796</c:v>
                </c:pt>
                <c:pt idx="157">
                  <c:v>0.24052680221811459</c:v>
                </c:pt>
                <c:pt idx="158">
                  <c:v>0.18004543733434306</c:v>
                </c:pt>
                <c:pt idx="159">
                  <c:v>0.16589935760171307</c:v>
                </c:pt>
                <c:pt idx="160">
                  <c:v>0.21733202443280977</c:v>
                </c:pt>
                <c:pt idx="161">
                  <c:v>0.20686222846770888</c:v>
                </c:pt>
                <c:pt idx="162">
                  <c:v>0.20615113127875465</c:v>
                </c:pt>
                <c:pt idx="163">
                  <c:v>0.19057445621862801</c:v>
                </c:pt>
                <c:pt idx="164">
                  <c:v>0.21823926781433864</c:v>
                </c:pt>
                <c:pt idx="165">
                  <c:v>0.20250368188512519</c:v>
                </c:pt>
                <c:pt idx="166">
                  <c:v>0.17414652857690832</c:v>
                </c:pt>
                <c:pt idx="167">
                  <c:v>0.23560863481910854</c:v>
                </c:pt>
                <c:pt idx="168">
                  <c:v>0.20343987981142828</c:v>
                </c:pt>
                <c:pt idx="169">
                  <c:v>0.21798756998304997</c:v>
                </c:pt>
                <c:pt idx="170">
                  <c:v>0.19288714390065742</c:v>
                </c:pt>
                <c:pt idx="171">
                  <c:v>0.24959023857220908</c:v>
                </c:pt>
                <c:pt idx="172">
                  <c:v>0.22921951947470526</c:v>
                </c:pt>
                <c:pt idx="173">
                  <c:v>0.18101290963257199</c:v>
                </c:pt>
                <c:pt idx="174">
                  <c:v>0.24205549845837615</c:v>
                </c:pt>
                <c:pt idx="175">
                  <c:v>0.20450671433916767</c:v>
                </c:pt>
                <c:pt idx="176">
                  <c:v>0.22453693801599864</c:v>
                </c:pt>
                <c:pt idx="177">
                  <c:v>0.20611353711790392</c:v>
                </c:pt>
                <c:pt idx="178">
                  <c:v>0.22034285714285715</c:v>
                </c:pt>
                <c:pt idx="179">
                  <c:v>0.21389442231075698</c:v>
                </c:pt>
                <c:pt idx="180">
                  <c:v>0.17426133611535452</c:v>
                </c:pt>
                <c:pt idx="181">
                  <c:v>0.22410615554736454</c:v>
                </c:pt>
                <c:pt idx="182">
                  <c:v>0.21244542343547182</c:v>
                </c:pt>
                <c:pt idx="183">
                  <c:v>0.19379936343274784</c:v>
                </c:pt>
                <c:pt idx="184">
                  <c:v>0.1702897240206894</c:v>
                </c:pt>
                <c:pt idx="185">
                  <c:v>0.26528861154446176</c:v>
                </c:pt>
                <c:pt idx="186">
                  <c:v>0.17357179619145652</c:v>
                </c:pt>
                <c:pt idx="187">
                  <c:v>0.12990680598700932</c:v>
                </c:pt>
                <c:pt idx="188">
                  <c:v>0.17816493155674265</c:v>
                </c:pt>
                <c:pt idx="189">
                  <c:v>0.16389972481780518</c:v>
                </c:pt>
                <c:pt idx="190">
                  <c:v>0.12570262207567906</c:v>
                </c:pt>
                <c:pt idx="191">
                  <c:v>0.16747674381176167</c:v>
                </c:pt>
                <c:pt idx="192">
                  <c:v>0.22170220142139019</c:v>
                </c:pt>
                <c:pt idx="193">
                  <c:v>0.15974891109403022</c:v>
                </c:pt>
                <c:pt idx="194">
                  <c:v>0.12038159915918829</c:v>
                </c:pt>
                <c:pt idx="195">
                  <c:v>0.15786859863866087</c:v>
                </c:pt>
                <c:pt idx="196">
                  <c:v>0.14007360900627841</c:v>
                </c:pt>
                <c:pt idx="197">
                  <c:v>0.13344332618379806</c:v>
                </c:pt>
                <c:pt idx="198">
                  <c:v>0.13548530391648775</c:v>
                </c:pt>
                <c:pt idx="199">
                  <c:v>0.20756998047056635</c:v>
                </c:pt>
                <c:pt idx="200">
                  <c:v>0.12741460918510938</c:v>
                </c:pt>
                <c:pt idx="201">
                  <c:v>9.7988197424892703E-2</c:v>
                </c:pt>
                <c:pt idx="202">
                  <c:v>0.13230787192434545</c:v>
                </c:pt>
                <c:pt idx="203">
                  <c:v>0.10922061828047024</c:v>
                </c:pt>
                <c:pt idx="204">
                  <c:v>0.10401753604822413</c:v>
                </c:pt>
                <c:pt idx="205">
                  <c:v>0.12202357408432878</c:v>
                </c:pt>
                <c:pt idx="206">
                  <c:v>0.18965517241379309</c:v>
                </c:pt>
                <c:pt idx="207">
                  <c:v>0.12850710079667474</c:v>
                </c:pt>
                <c:pt idx="208">
                  <c:v>8.4242772353053802E-2</c:v>
                </c:pt>
                <c:pt idx="209">
                  <c:v>0.11074627817271829</c:v>
                </c:pt>
                <c:pt idx="210">
                  <c:v>9.4196261999253753E-2</c:v>
                </c:pt>
                <c:pt idx="211">
                  <c:v>7.6183111660995978E-2</c:v>
                </c:pt>
                <c:pt idx="212">
                  <c:v>0.14923248958015656</c:v>
                </c:pt>
                <c:pt idx="213">
                  <c:v>0.15867689357622244</c:v>
                </c:pt>
                <c:pt idx="214">
                  <c:v>0.14853408689509007</c:v>
                </c:pt>
                <c:pt idx="215">
                  <c:v>9.2303066746843049E-2</c:v>
                </c:pt>
                <c:pt idx="216">
                  <c:v>5.3678366918739347E-2</c:v>
                </c:pt>
                <c:pt idx="217">
                  <c:v>7.9510426110607435E-2</c:v>
                </c:pt>
                <c:pt idx="218">
                  <c:v>6.8755568755568749E-2</c:v>
                </c:pt>
                <c:pt idx="219">
                  <c:v>8.359349517729836E-2</c:v>
                </c:pt>
                <c:pt idx="220">
                  <c:v>0.12519878560069395</c:v>
                </c:pt>
                <c:pt idx="221">
                  <c:v>6.8280871670702181E-2</c:v>
                </c:pt>
                <c:pt idx="222">
                  <c:v>5.0627058891521699E-2</c:v>
                </c:pt>
                <c:pt idx="223">
                  <c:v>6.7122715740116259E-2</c:v>
                </c:pt>
                <c:pt idx="224">
                  <c:v>5.4883381924198248E-2</c:v>
                </c:pt>
                <c:pt idx="225">
                  <c:v>4.8850241545893722E-2</c:v>
                </c:pt>
                <c:pt idx="226">
                  <c:v>7.0283600493218246E-2</c:v>
                </c:pt>
                <c:pt idx="227">
                  <c:v>0.10284736268865723</c:v>
                </c:pt>
                <c:pt idx="228">
                  <c:v>5.7640348243770637E-2</c:v>
                </c:pt>
                <c:pt idx="229">
                  <c:v>4.3355325164938736E-2</c:v>
                </c:pt>
                <c:pt idx="230">
                  <c:v>4.9880341880341877E-2</c:v>
                </c:pt>
                <c:pt idx="231">
                  <c:v>4.5241337569980333E-2</c:v>
                </c:pt>
                <c:pt idx="232">
                  <c:v>3.9925116527852064E-2</c:v>
                </c:pt>
                <c:pt idx="233">
                  <c:v>5.8741547514582153E-2</c:v>
                </c:pt>
                <c:pt idx="234">
                  <c:v>8.8323803791754432E-2</c:v>
                </c:pt>
                <c:pt idx="235">
                  <c:v>6.6232709519934901E-2</c:v>
                </c:pt>
                <c:pt idx="236">
                  <c:v>3.4895833333333334E-2</c:v>
                </c:pt>
                <c:pt idx="237">
                  <c:v>4.5482306448715648E-2</c:v>
                </c:pt>
                <c:pt idx="238">
                  <c:v>4.0457769181173435E-2</c:v>
                </c:pt>
                <c:pt idx="239">
                  <c:v>3.6847033915557187E-2</c:v>
                </c:pt>
                <c:pt idx="240">
                  <c:v>5.3713900438251486E-2</c:v>
                </c:pt>
                <c:pt idx="241">
                  <c:v>0.11049832578294268</c:v>
                </c:pt>
                <c:pt idx="242">
                  <c:v>3.88059701492537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E95-49BD-ABA6-59CA6641D0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3"/>
      </c:dateAx>
      <c:valAx>
        <c:axId val="414859336"/>
        <c:scaling>
          <c:orientation val="minMax"/>
          <c:max val="0.5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65+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5</c:f>
              <c:numCache>
                <c:formatCode>m/d/yyyy</c:formatCode>
                <c:ptCount val="204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</c:numCache>
            </c:numRef>
          </c:cat>
          <c:val>
            <c:numRef>
              <c:f>Sheet1!$B$2:$B$205</c:f>
              <c:numCache>
                <c:formatCode>General</c:formatCode>
                <c:ptCount val="204"/>
                <c:pt idx="0">
                  <c:v>1202</c:v>
                </c:pt>
                <c:pt idx="1">
                  <c:v>1438</c:v>
                </c:pt>
                <c:pt idx="2">
                  <c:v>1432</c:v>
                </c:pt>
                <c:pt idx="3">
                  <c:v>1328</c:v>
                </c:pt>
                <c:pt idx="4">
                  <c:v>1412</c:v>
                </c:pt>
                <c:pt idx="5">
                  <c:v>771</c:v>
                </c:pt>
                <c:pt idx="6">
                  <c:v>448</c:v>
                </c:pt>
                <c:pt idx="7">
                  <c:v>1122</c:v>
                </c:pt>
                <c:pt idx="8">
                  <c:v>1466</c:v>
                </c:pt>
                <c:pt idx="9">
                  <c:v>1383</c:v>
                </c:pt>
                <c:pt idx="10">
                  <c:v>1387</c:v>
                </c:pt>
                <c:pt idx="11">
                  <c:v>1328</c:v>
                </c:pt>
                <c:pt idx="12">
                  <c:v>728</c:v>
                </c:pt>
                <c:pt idx="13">
                  <c:v>457</c:v>
                </c:pt>
                <c:pt idx="14">
                  <c:v>1302</c:v>
                </c:pt>
                <c:pt idx="15">
                  <c:v>1761</c:v>
                </c:pt>
                <c:pt idx="16">
                  <c:v>1459</c:v>
                </c:pt>
                <c:pt idx="17">
                  <c:v>1600</c:v>
                </c:pt>
                <c:pt idx="18">
                  <c:v>1717</c:v>
                </c:pt>
                <c:pt idx="19">
                  <c:v>945</c:v>
                </c:pt>
                <c:pt idx="20">
                  <c:v>581</c:v>
                </c:pt>
                <c:pt idx="21">
                  <c:v>1633</c:v>
                </c:pt>
                <c:pt idx="22">
                  <c:v>2109</c:v>
                </c:pt>
                <c:pt idx="23">
                  <c:v>1925</c:v>
                </c:pt>
                <c:pt idx="24">
                  <c:v>2007</c:v>
                </c:pt>
                <c:pt idx="25">
                  <c:v>2093</c:v>
                </c:pt>
                <c:pt idx="26">
                  <c:v>1051</c:v>
                </c:pt>
                <c:pt idx="27">
                  <c:v>657</c:v>
                </c:pt>
                <c:pt idx="28">
                  <c:v>1851</c:v>
                </c:pt>
                <c:pt idx="29">
                  <c:v>2399</c:v>
                </c:pt>
                <c:pt idx="30">
                  <c:v>2168</c:v>
                </c:pt>
                <c:pt idx="31">
                  <c:v>2054</c:v>
                </c:pt>
                <c:pt idx="32">
                  <c:v>1877</c:v>
                </c:pt>
                <c:pt idx="33">
                  <c:v>1311</c:v>
                </c:pt>
                <c:pt idx="34">
                  <c:v>645</c:v>
                </c:pt>
                <c:pt idx="35">
                  <c:v>1543</c:v>
                </c:pt>
                <c:pt idx="36">
                  <c:v>1984</c:v>
                </c:pt>
                <c:pt idx="37">
                  <c:v>2017</c:v>
                </c:pt>
                <c:pt idx="38">
                  <c:v>1628</c:v>
                </c:pt>
                <c:pt idx="39">
                  <c:v>2249</c:v>
                </c:pt>
                <c:pt idx="40">
                  <c:v>980</c:v>
                </c:pt>
                <c:pt idx="41">
                  <c:v>542</c:v>
                </c:pt>
                <c:pt idx="42">
                  <c:v>1624</c:v>
                </c:pt>
                <c:pt idx="43">
                  <c:v>2051</c:v>
                </c:pt>
                <c:pt idx="44">
                  <c:v>1788</c:v>
                </c:pt>
                <c:pt idx="45">
                  <c:v>1586</c:v>
                </c:pt>
                <c:pt idx="46">
                  <c:v>1430</c:v>
                </c:pt>
                <c:pt idx="47">
                  <c:v>843</c:v>
                </c:pt>
                <c:pt idx="48">
                  <c:v>440</c:v>
                </c:pt>
                <c:pt idx="49">
                  <c:v>1211</c:v>
                </c:pt>
                <c:pt idx="50">
                  <c:v>1622</c:v>
                </c:pt>
                <c:pt idx="51">
                  <c:v>1319</c:v>
                </c:pt>
                <c:pt idx="52">
                  <c:v>1288</c:v>
                </c:pt>
                <c:pt idx="53">
                  <c:v>1176</c:v>
                </c:pt>
                <c:pt idx="54">
                  <c:v>641</c:v>
                </c:pt>
                <c:pt idx="55">
                  <c:v>326</c:v>
                </c:pt>
                <c:pt idx="56">
                  <c:v>1117</c:v>
                </c:pt>
                <c:pt idx="57">
                  <c:v>1294</c:v>
                </c:pt>
                <c:pt idx="58">
                  <c:v>1193</c:v>
                </c:pt>
                <c:pt idx="59">
                  <c:v>989</c:v>
                </c:pt>
                <c:pt idx="60">
                  <c:v>550</c:v>
                </c:pt>
                <c:pt idx="61">
                  <c:v>377</c:v>
                </c:pt>
                <c:pt idx="62">
                  <c:v>327</c:v>
                </c:pt>
                <c:pt idx="63">
                  <c:v>290</c:v>
                </c:pt>
                <c:pt idx="64">
                  <c:v>816</c:v>
                </c:pt>
                <c:pt idx="65">
                  <c:v>980</c:v>
                </c:pt>
                <c:pt idx="66">
                  <c:v>782</c:v>
                </c:pt>
                <c:pt idx="67">
                  <c:v>716</c:v>
                </c:pt>
                <c:pt idx="68">
                  <c:v>363</c:v>
                </c:pt>
                <c:pt idx="69">
                  <c:v>203</c:v>
                </c:pt>
                <c:pt idx="70">
                  <c:v>579</c:v>
                </c:pt>
                <c:pt idx="71">
                  <c:v>691</c:v>
                </c:pt>
                <c:pt idx="72">
                  <c:v>581</c:v>
                </c:pt>
                <c:pt idx="73">
                  <c:v>468</c:v>
                </c:pt>
                <c:pt idx="74">
                  <c:v>512</c:v>
                </c:pt>
                <c:pt idx="75">
                  <c:v>245</c:v>
                </c:pt>
                <c:pt idx="76">
                  <c:v>144</c:v>
                </c:pt>
                <c:pt idx="77">
                  <c:v>468</c:v>
                </c:pt>
                <c:pt idx="78">
                  <c:v>490</c:v>
                </c:pt>
                <c:pt idx="79">
                  <c:v>412</c:v>
                </c:pt>
                <c:pt idx="80">
                  <c:v>400</c:v>
                </c:pt>
                <c:pt idx="81">
                  <c:v>335</c:v>
                </c:pt>
                <c:pt idx="82">
                  <c:v>156</c:v>
                </c:pt>
                <c:pt idx="83">
                  <c:v>120</c:v>
                </c:pt>
                <c:pt idx="84">
                  <c:v>372</c:v>
                </c:pt>
                <c:pt idx="85">
                  <c:v>384</c:v>
                </c:pt>
                <c:pt idx="86">
                  <c:v>330</c:v>
                </c:pt>
                <c:pt idx="87">
                  <c:v>302</c:v>
                </c:pt>
                <c:pt idx="88">
                  <c:v>304</c:v>
                </c:pt>
                <c:pt idx="89">
                  <c:v>1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EA-4BD4-9376-87441B21E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4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Počet hospitalizací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CU$7</c:f>
              <c:numCache>
                <c:formatCode>General</c:formatCode>
                <c:ptCount val="98"/>
                <c:pt idx="0">
                  <c:v>1510</c:v>
                </c:pt>
                <c:pt idx="1">
                  <c:v>1428</c:v>
                </c:pt>
                <c:pt idx="2">
                  <c:v>1403</c:v>
                </c:pt>
                <c:pt idx="3">
                  <c:v>1383</c:v>
                </c:pt>
                <c:pt idx="4">
                  <c:v>1349</c:v>
                </c:pt>
                <c:pt idx="5">
                  <c:v>1399</c:v>
                </c:pt>
                <c:pt idx="6">
                  <c:v>1366</c:v>
                </c:pt>
                <c:pt idx="7">
                  <c:v>1317</c:v>
                </c:pt>
                <c:pt idx="8">
                  <c:v>1239</c:v>
                </c:pt>
                <c:pt idx="9">
                  <c:v>1223</c:v>
                </c:pt>
                <c:pt idx="10">
                  <c:v>1206</c:v>
                </c:pt>
                <c:pt idx="11">
                  <c:v>1192</c:v>
                </c:pt>
                <c:pt idx="12">
                  <c:v>1164</c:v>
                </c:pt>
                <c:pt idx="13">
                  <c:v>1120</c:v>
                </c:pt>
                <c:pt idx="14">
                  <c:v>1042</c:v>
                </c:pt>
                <c:pt idx="15">
                  <c:v>1020</c:v>
                </c:pt>
                <c:pt idx="16">
                  <c:v>979</c:v>
                </c:pt>
                <c:pt idx="17">
                  <c:v>982</c:v>
                </c:pt>
                <c:pt idx="18">
                  <c:v>1000</c:v>
                </c:pt>
                <c:pt idx="19">
                  <c:v>949</c:v>
                </c:pt>
                <c:pt idx="20">
                  <c:v>915</c:v>
                </c:pt>
                <c:pt idx="21">
                  <c:v>839</c:v>
                </c:pt>
                <c:pt idx="22">
                  <c:v>793</c:v>
                </c:pt>
                <c:pt idx="23">
                  <c:v>758</c:v>
                </c:pt>
                <c:pt idx="24">
                  <c:v>767</c:v>
                </c:pt>
                <c:pt idx="25">
                  <c:v>744</c:v>
                </c:pt>
                <c:pt idx="26">
                  <c:v>716</c:v>
                </c:pt>
                <c:pt idx="27">
                  <c:v>686</c:v>
                </c:pt>
                <c:pt idx="28">
                  <c:v>620</c:v>
                </c:pt>
                <c:pt idx="29">
                  <c:v>582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55F-43E9-953D-C9CE717F27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CU$2</c:f>
              <c:numCache>
                <c:formatCode>General</c:formatCode>
                <c:ptCount val="98"/>
                <c:pt idx="26">
                  <c:v>712.43872983210565</c:v>
                </c:pt>
                <c:pt idx="27">
                  <c:v>680.85320605749507</c:v>
                </c:pt>
                <c:pt idx="28">
                  <c:v>651.5621026606583</c:v>
                </c:pt>
                <c:pt idx="29">
                  <c:v>623.55678321008065</c:v>
                </c:pt>
                <c:pt idx="30">
                  <c:v>597.39898718966253</c:v>
                </c:pt>
                <c:pt idx="31">
                  <c:v>573.64042929923028</c:v>
                </c:pt>
                <c:pt idx="32">
                  <c:v>551.24024695820356</c:v>
                </c:pt>
                <c:pt idx="33">
                  <c:v>530.37050732899945</c:v>
                </c:pt>
                <c:pt idx="34">
                  <c:v>510.45725976489297</c:v>
                </c:pt>
                <c:pt idx="35">
                  <c:v>491.60838218842571</c:v>
                </c:pt>
                <c:pt idx="36">
                  <c:v>473.41853325775912</c:v>
                </c:pt>
                <c:pt idx="37">
                  <c:v>456.26954668296116</c:v>
                </c:pt>
                <c:pt idx="38">
                  <c:v>439.8768621782873</c:v>
                </c:pt>
                <c:pt idx="39">
                  <c:v>423.76120237760796</c:v>
                </c:pt>
                <c:pt idx="40">
                  <c:v>408.4114366125541</c:v>
                </c:pt>
                <c:pt idx="41">
                  <c:v>393.25773537891848</c:v>
                </c:pt>
                <c:pt idx="42">
                  <c:v>378.40709820789067</c:v>
                </c:pt>
                <c:pt idx="43">
                  <c:v>363.73441568631836</c:v>
                </c:pt>
                <c:pt idx="44">
                  <c:v>349.42056930842341</c:v>
                </c:pt>
                <c:pt idx="45">
                  <c:v>335.42059559249395</c:v>
                </c:pt>
                <c:pt idx="46">
                  <c:v>321.79414887381375</c:v>
                </c:pt>
                <c:pt idx="47">
                  <c:v>308.53304930739375</c:v>
                </c:pt>
                <c:pt idx="48">
                  <c:v>295.51401232423285</c:v>
                </c:pt>
                <c:pt idx="49">
                  <c:v>282.89405227992489</c:v>
                </c:pt>
                <c:pt idx="50">
                  <c:v>270.45095008853383</c:v>
                </c:pt>
                <c:pt idx="51">
                  <c:v>258.38891625148716</c:v>
                </c:pt>
                <c:pt idx="52">
                  <c:v>246.73841968975324</c:v>
                </c:pt>
                <c:pt idx="53">
                  <c:v>235.53153061592064</c:v>
                </c:pt>
                <c:pt idx="54">
                  <c:v>224.60820005150549</c:v>
                </c:pt>
                <c:pt idx="55">
                  <c:v>214.09252154238152</c:v>
                </c:pt>
                <c:pt idx="56">
                  <c:v>203.96889972933829</c:v>
                </c:pt>
                <c:pt idx="57">
                  <c:v>194.2051928901956</c:v>
                </c:pt>
                <c:pt idx="58">
                  <c:v>184.77638080115489</c:v>
                </c:pt>
                <c:pt idx="59">
                  <c:v>175.70172360066476</c:v>
                </c:pt>
                <c:pt idx="60">
                  <c:v>167.07520572286853</c:v>
                </c:pt>
                <c:pt idx="61">
                  <c:v>158.82244747792544</c:v>
                </c:pt>
                <c:pt idx="62">
                  <c:v>150.89428527706372</c:v>
                </c:pt>
                <c:pt idx="63">
                  <c:v>143.36999392981031</c:v>
                </c:pt>
                <c:pt idx="64">
                  <c:v>136.07085987914178</c:v>
                </c:pt>
                <c:pt idx="65">
                  <c:v>129.12066785338448</c:v>
                </c:pt>
                <c:pt idx="66">
                  <c:v>122.510853979832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55F-43E9-953D-C9CE717F27E6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CU$3</c:f>
              <c:numCache>
                <c:formatCode>General</c:formatCode>
                <c:ptCount val="98"/>
                <c:pt idx="26">
                  <c:v>712.98876248241982</c:v>
                </c:pt>
                <c:pt idx="27">
                  <c:v>682.41286438042255</c:v>
                </c:pt>
                <c:pt idx="28">
                  <c:v>654.49173584415189</c:v>
                </c:pt>
                <c:pt idx="29">
                  <c:v>628.13934425481079</c:v>
                </c:pt>
                <c:pt idx="30">
                  <c:v>603.96611728825189</c:v>
                </c:pt>
                <c:pt idx="31">
                  <c:v>582.55655607243784</c:v>
                </c:pt>
                <c:pt idx="32">
                  <c:v>562.91095544433108</c:v>
                </c:pt>
                <c:pt idx="33">
                  <c:v>545.21407355090992</c:v>
                </c:pt>
                <c:pt idx="34">
                  <c:v>528.79550186756444</c:v>
                </c:pt>
                <c:pt idx="35">
                  <c:v>513.69916199789293</c:v>
                </c:pt>
                <c:pt idx="36">
                  <c:v>499.47985944811921</c:v>
                </c:pt>
                <c:pt idx="37">
                  <c:v>486.49920156576968</c:v>
                </c:pt>
                <c:pt idx="38">
                  <c:v>474.4379571654149</c:v>
                </c:pt>
                <c:pt idx="39">
                  <c:v>462.76512581381337</c:v>
                </c:pt>
                <c:pt idx="40">
                  <c:v>451.90333736922213</c:v>
                </c:pt>
                <c:pt idx="41">
                  <c:v>441.22273582104395</c:v>
                </c:pt>
                <c:pt idx="42">
                  <c:v>430.79938966718987</c:v>
                </c:pt>
                <c:pt idx="43">
                  <c:v>420.47358926063424</c:v>
                </c:pt>
                <c:pt idx="44">
                  <c:v>410.39551747197368</c:v>
                </c:pt>
                <c:pt idx="45">
                  <c:v>400.49014784504021</c:v>
                </c:pt>
                <c:pt idx="46">
                  <c:v>390.79971608668461</c:v>
                </c:pt>
                <c:pt idx="47">
                  <c:v>381.29069759549327</c:v>
                </c:pt>
                <c:pt idx="48">
                  <c:v>371.81645527560374</c:v>
                </c:pt>
                <c:pt idx="49">
                  <c:v>362.5330370260034</c:v>
                </c:pt>
                <c:pt idx="50">
                  <c:v>353.2039428987971</c:v>
                </c:pt>
                <c:pt idx="51">
                  <c:v>344.03076599440504</c:v>
                </c:pt>
                <c:pt idx="52">
                  <c:v>335.04132086192249</c:v>
                </c:pt>
                <c:pt idx="53">
                  <c:v>326.26790943662024</c:v>
                </c:pt>
                <c:pt idx="54">
                  <c:v>317.55126942873432</c:v>
                </c:pt>
                <c:pt idx="55">
                  <c:v>309.02023076263083</c:v>
                </c:pt>
                <c:pt idx="56">
                  <c:v>300.66239917257843</c:v>
                </c:pt>
                <c:pt idx="57">
                  <c:v>292.45404749031923</c:v>
                </c:pt>
                <c:pt idx="58">
                  <c:v>284.3762938445999</c:v>
                </c:pt>
                <c:pt idx="59">
                  <c:v>276.45726041464633</c:v>
                </c:pt>
                <c:pt idx="60">
                  <c:v>268.7965540805148</c:v>
                </c:pt>
                <c:pt idx="61">
                  <c:v>261.33416786664185</c:v>
                </c:pt>
                <c:pt idx="62">
                  <c:v>254.02401061156294</c:v>
                </c:pt>
                <c:pt idx="63">
                  <c:v>246.958408950923</c:v>
                </c:pt>
                <c:pt idx="64">
                  <c:v>239.96527629294263</c:v>
                </c:pt>
                <c:pt idx="65">
                  <c:v>233.17745936769148</c:v>
                </c:pt>
                <c:pt idx="66">
                  <c:v>226.591958690773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55F-43E9-953D-C9CE717F27E6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CU$4</c:f>
              <c:numCache>
                <c:formatCode>General</c:formatCode>
                <c:ptCount val="98"/>
                <c:pt idx="26">
                  <c:v>713.53462821871597</c:v>
                </c:pt>
                <c:pt idx="27">
                  <c:v>683.96714688620352</c:v>
                </c:pt>
                <c:pt idx="28">
                  <c:v>657.41515382780187</c:v>
                </c:pt>
                <c:pt idx="29">
                  <c:v>632.71496132046911</c:v>
                </c:pt>
                <c:pt idx="30">
                  <c:v>610.5506537112617</c:v>
                </c:pt>
                <c:pt idx="31">
                  <c:v>591.56350865560921</c:v>
                </c:pt>
                <c:pt idx="32">
                  <c:v>574.81714247051502</c:v>
                </c:pt>
                <c:pt idx="33">
                  <c:v>560.52062365126164</c:v>
                </c:pt>
                <c:pt idx="34">
                  <c:v>547.90395099461273</c:v>
                </c:pt>
                <c:pt idx="35">
                  <c:v>536.94701676095406</c:v>
                </c:pt>
                <c:pt idx="36">
                  <c:v>527.19340720809441</c:v>
                </c:pt>
                <c:pt idx="37">
                  <c:v>519.01145146651311</c:v>
                </c:pt>
                <c:pt idx="38">
                  <c:v>512.04997731859964</c:v>
                </c:pt>
                <c:pt idx="39">
                  <c:v>505.7270070112325</c:v>
                </c:pt>
                <c:pt idx="40">
                  <c:v>500.41296658464313</c:v>
                </c:pt>
                <c:pt idx="41">
                  <c:v>495.41688791621959</c:v>
                </c:pt>
                <c:pt idx="42">
                  <c:v>490.7757788200102</c:v>
                </c:pt>
                <c:pt idx="43">
                  <c:v>486.30841519447472</c:v>
                </c:pt>
                <c:pt idx="44">
                  <c:v>482.14592078660121</c:v>
                </c:pt>
                <c:pt idx="45">
                  <c:v>478.17470468414865</c:v>
                </c:pt>
                <c:pt idx="46">
                  <c:v>474.39443152815562</c:v>
                </c:pt>
                <c:pt idx="47">
                  <c:v>470.74300778637439</c:v>
                </c:pt>
                <c:pt idx="48">
                  <c:v>467.06244808554663</c:v>
                </c:pt>
                <c:pt idx="49">
                  <c:v>463.4843739509364</c:v>
                </c:pt>
                <c:pt idx="50">
                  <c:v>459.76431532745664</c:v>
                </c:pt>
                <c:pt idx="51">
                  <c:v>456.08338778718974</c:v>
                </c:pt>
                <c:pt idx="52">
                  <c:v>452.45977784525905</c:v>
                </c:pt>
                <c:pt idx="53">
                  <c:v>448.91342890858789</c:v>
                </c:pt>
                <c:pt idx="54">
                  <c:v>445.27749248814922</c:v>
                </c:pt>
                <c:pt idx="55">
                  <c:v>441.68460345303595</c:v>
                </c:pt>
                <c:pt idx="56">
                  <c:v>438.11175765773083</c:v>
                </c:pt>
                <c:pt idx="57">
                  <c:v>434.53111596809697</c:v>
                </c:pt>
                <c:pt idx="58">
                  <c:v>430.92969958213803</c:v>
                </c:pt>
                <c:pt idx="59">
                  <c:v>427.32253192053236</c:v>
                </c:pt>
                <c:pt idx="60">
                  <c:v>423.81754074420707</c:v>
                </c:pt>
                <c:pt idx="61">
                  <c:v>420.3521680688246</c:v>
                </c:pt>
                <c:pt idx="62">
                  <c:v>416.88367201206717</c:v>
                </c:pt>
                <c:pt idx="63">
                  <c:v>413.50470438878438</c:v>
                </c:pt>
                <c:pt idx="64">
                  <c:v>410.04390844283131</c:v>
                </c:pt>
                <c:pt idx="65">
                  <c:v>406.64172789775728</c:v>
                </c:pt>
                <c:pt idx="66">
                  <c:v>403.293755017394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55F-43E9-953D-C9CE717F27E6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CU$6</c:f>
              <c:numCache>
                <c:formatCode>General</c:formatCode>
                <c:ptCount val="98"/>
                <c:pt idx="0">
                  <c:v>1893</c:v>
                </c:pt>
                <c:pt idx="1">
                  <c:v>1893</c:v>
                </c:pt>
                <c:pt idx="2">
                  <c:v>1893</c:v>
                </c:pt>
                <c:pt idx="3">
                  <c:v>1893</c:v>
                </c:pt>
                <c:pt idx="4">
                  <c:v>1893</c:v>
                </c:pt>
                <c:pt idx="5">
                  <c:v>1893</c:v>
                </c:pt>
                <c:pt idx="6">
                  <c:v>1893</c:v>
                </c:pt>
                <c:pt idx="7">
                  <c:v>1893</c:v>
                </c:pt>
                <c:pt idx="8">
                  <c:v>1893</c:v>
                </c:pt>
                <c:pt idx="9">
                  <c:v>1893</c:v>
                </c:pt>
                <c:pt idx="10">
                  <c:v>1893</c:v>
                </c:pt>
                <c:pt idx="11">
                  <c:v>1893</c:v>
                </c:pt>
                <c:pt idx="12">
                  <c:v>1893</c:v>
                </c:pt>
                <c:pt idx="13">
                  <c:v>1893</c:v>
                </c:pt>
                <c:pt idx="14">
                  <c:v>1893</c:v>
                </c:pt>
                <c:pt idx="15">
                  <c:v>1893</c:v>
                </c:pt>
                <c:pt idx="16">
                  <c:v>1893</c:v>
                </c:pt>
                <c:pt idx="17">
                  <c:v>1893</c:v>
                </c:pt>
                <c:pt idx="18">
                  <c:v>1893</c:v>
                </c:pt>
                <c:pt idx="19">
                  <c:v>1893</c:v>
                </c:pt>
                <c:pt idx="20">
                  <c:v>1893</c:v>
                </c:pt>
                <c:pt idx="21">
                  <c:v>1893</c:v>
                </c:pt>
                <c:pt idx="22">
                  <c:v>1893</c:v>
                </c:pt>
                <c:pt idx="23">
                  <c:v>1893</c:v>
                </c:pt>
                <c:pt idx="24">
                  <c:v>1893</c:v>
                </c:pt>
                <c:pt idx="25">
                  <c:v>1893</c:v>
                </c:pt>
                <c:pt idx="26">
                  <c:v>1893</c:v>
                </c:pt>
                <c:pt idx="27">
                  <c:v>1893</c:v>
                </c:pt>
                <c:pt idx="28">
                  <c:v>1893</c:v>
                </c:pt>
                <c:pt idx="29">
                  <c:v>1893</c:v>
                </c:pt>
                <c:pt idx="30">
                  <c:v>1893</c:v>
                </c:pt>
                <c:pt idx="31">
                  <c:v>1893</c:v>
                </c:pt>
                <c:pt idx="32">
                  <c:v>1893</c:v>
                </c:pt>
                <c:pt idx="33">
                  <c:v>1893</c:v>
                </c:pt>
                <c:pt idx="34">
                  <c:v>1893</c:v>
                </c:pt>
                <c:pt idx="35">
                  <c:v>1893</c:v>
                </c:pt>
                <c:pt idx="36">
                  <c:v>1893</c:v>
                </c:pt>
                <c:pt idx="37">
                  <c:v>1893</c:v>
                </c:pt>
                <c:pt idx="38">
                  <c:v>1893</c:v>
                </c:pt>
                <c:pt idx="39">
                  <c:v>1893</c:v>
                </c:pt>
                <c:pt idx="40">
                  <c:v>1893</c:v>
                </c:pt>
                <c:pt idx="41">
                  <c:v>1893</c:v>
                </c:pt>
                <c:pt idx="42">
                  <c:v>1893</c:v>
                </c:pt>
                <c:pt idx="43">
                  <c:v>1893</c:v>
                </c:pt>
                <c:pt idx="44">
                  <c:v>1893</c:v>
                </c:pt>
                <c:pt idx="45">
                  <c:v>1893</c:v>
                </c:pt>
                <c:pt idx="46">
                  <c:v>1893</c:v>
                </c:pt>
                <c:pt idx="47">
                  <c:v>1893</c:v>
                </c:pt>
                <c:pt idx="48">
                  <c:v>1893</c:v>
                </c:pt>
                <c:pt idx="49">
                  <c:v>1893</c:v>
                </c:pt>
                <c:pt idx="50">
                  <c:v>1893</c:v>
                </c:pt>
                <c:pt idx="51">
                  <c:v>1893</c:v>
                </c:pt>
                <c:pt idx="52">
                  <c:v>1893</c:v>
                </c:pt>
                <c:pt idx="53">
                  <c:v>1893</c:v>
                </c:pt>
                <c:pt idx="54">
                  <c:v>1893</c:v>
                </c:pt>
                <c:pt idx="55">
                  <c:v>1893</c:v>
                </c:pt>
                <c:pt idx="56">
                  <c:v>1893</c:v>
                </c:pt>
                <c:pt idx="57">
                  <c:v>1893</c:v>
                </c:pt>
                <c:pt idx="58">
                  <c:v>1893</c:v>
                </c:pt>
                <c:pt idx="59">
                  <c:v>1893</c:v>
                </c:pt>
                <c:pt idx="60">
                  <c:v>1893</c:v>
                </c:pt>
                <c:pt idx="61">
                  <c:v>1893</c:v>
                </c:pt>
                <c:pt idx="62">
                  <c:v>1893</c:v>
                </c:pt>
                <c:pt idx="63">
                  <c:v>1893</c:v>
                </c:pt>
                <c:pt idx="64">
                  <c:v>1893</c:v>
                </c:pt>
                <c:pt idx="65">
                  <c:v>1893</c:v>
                </c:pt>
                <c:pt idx="66">
                  <c:v>18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55F-43E9-953D-C9CE717F27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  <c:max val="220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5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H$155:$H$280</c:f>
              <c:numCache>
                <c:formatCode>General</c:formatCode>
                <c:ptCount val="126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F5-483F-B422-4E0629062509}"/>
            </c:ext>
          </c:extLst>
        </c:ser>
        <c:ser>
          <c:idx val="7"/>
          <c:order val="6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I$155:$I$280</c:f>
              <c:numCache>
                <c:formatCode>General</c:formatCode>
                <c:ptCount val="126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F5-483F-B422-4E06290625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B$155:$B$280</c:f>
              <c:numCache>
                <c:formatCode>General</c:formatCode>
                <c:ptCount val="126"/>
                <c:pt idx="0">
                  <c:v>445.17740376113989</c:v>
                </c:pt>
                <c:pt idx="1">
                  <c:v>444.73790246980087</c:v>
                </c:pt>
                <c:pt idx="2">
                  <c:v>455.61322165761374</c:v>
                </c:pt>
                <c:pt idx="3">
                  <c:v>456.52027751420684</c:v>
                </c:pt>
                <c:pt idx="4">
                  <c:v>461.84104846679975</c:v>
                </c:pt>
                <c:pt idx="5">
                  <c:v>468.99463331518911</c:v>
                </c:pt>
                <c:pt idx="6">
                  <c:v>467.85380017596884</c:v>
                </c:pt>
                <c:pt idx="7">
                  <c:v>473.09041130681589</c:v>
                </c:pt>
                <c:pt idx="8">
                  <c:v>483.70389993808647</c:v>
                </c:pt>
                <c:pt idx="9">
                  <c:v>482.49760915973059</c:v>
                </c:pt>
                <c:pt idx="10">
                  <c:v>491.01645333866219</c:v>
                </c:pt>
                <c:pt idx="11">
                  <c:v>492.96148033011968</c:v>
                </c:pt>
                <c:pt idx="12">
                  <c:v>495.9631806390517</c:v>
                </c:pt>
                <c:pt idx="13">
                  <c:v>499.9747988089328</c:v>
                </c:pt>
                <c:pt idx="14">
                  <c:v>510.5228298010677</c:v>
                </c:pt>
                <c:pt idx="15">
                  <c:v>532.26411708538831</c:v>
                </c:pt>
                <c:pt idx="16">
                  <c:v>545.36499600381114</c:v>
                </c:pt>
                <c:pt idx="17">
                  <c:v>570.48202724926705</c:v>
                </c:pt>
                <c:pt idx="18">
                  <c:v>593.4670096771639</c:v>
                </c:pt>
                <c:pt idx="19">
                  <c:v>608.74669286967128</c:v>
                </c:pt>
                <c:pt idx="20">
                  <c:v>619.85578934011119</c:v>
                </c:pt>
                <c:pt idx="21">
                  <c:v>643.26157087673676</c:v>
                </c:pt>
                <c:pt idx="22">
                  <c:v>673.48429797476865</c:v>
                </c:pt>
                <c:pt idx="23">
                  <c:v>700.20036583339402</c:v>
                </c:pt>
                <c:pt idx="24">
                  <c:v>727.16891315725661</c:v>
                </c:pt>
                <c:pt idx="25">
                  <c:v>759.78551962939014</c:v>
                </c:pt>
                <c:pt idx="26">
                  <c:v>769.5948144084233</c:v>
                </c:pt>
                <c:pt idx="27">
                  <c:v>774.44803079576207</c:v>
                </c:pt>
                <c:pt idx="28">
                  <c:v>783.02298152252411</c:v>
                </c:pt>
                <c:pt idx="29">
                  <c:v>791.78495407538787</c:v>
                </c:pt>
                <c:pt idx="30">
                  <c:v>805.25987664601416</c:v>
                </c:pt>
                <c:pt idx="31">
                  <c:v>805.82094212431912</c:v>
                </c:pt>
                <c:pt idx="32">
                  <c:v>790.79373839704897</c:v>
                </c:pt>
                <c:pt idx="33">
                  <c:v>803.00626364148889</c:v>
                </c:pt>
                <c:pt idx="34">
                  <c:v>797.34885340191306</c:v>
                </c:pt>
                <c:pt idx="35">
                  <c:v>781.71382873981236</c:v>
                </c:pt>
                <c:pt idx="36">
                  <c:v>768.44463017789792</c:v>
                </c:pt>
                <c:pt idx="37">
                  <c:v>761.88016408172882</c:v>
                </c:pt>
                <c:pt idx="38">
                  <c:v>730.05840037052758</c:v>
                </c:pt>
                <c:pt idx="39">
                  <c:v>746.8062048979333</c:v>
                </c:pt>
                <c:pt idx="40">
                  <c:v>726.47693240068043</c:v>
                </c:pt>
                <c:pt idx="41">
                  <c:v>720.39872305237577</c:v>
                </c:pt>
                <c:pt idx="42">
                  <c:v>720.17429686105368</c:v>
                </c:pt>
                <c:pt idx="43">
                  <c:v>707.73734542529189</c:v>
                </c:pt>
                <c:pt idx="44">
                  <c:v>684.28480843214084</c:v>
                </c:pt>
                <c:pt idx="45">
                  <c:v>678.81442001866662</c:v>
                </c:pt>
                <c:pt idx="46">
                  <c:v>629.72119066697496</c:v>
                </c:pt>
                <c:pt idx="47">
                  <c:v>615.78806462239959</c:v>
                </c:pt>
                <c:pt idx="48">
                  <c:v>606.97933661301045</c:v>
                </c:pt>
                <c:pt idx="49">
                  <c:v>584.6395794851644</c:v>
                </c:pt>
                <c:pt idx="50">
                  <c:v>556.02524009160697</c:v>
                </c:pt>
                <c:pt idx="51">
                  <c:v>526.28876974143952</c:v>
                </c:pt>
                <c:pt idx="52">
                  <c:v>500.71353502203442</c:v>
                </c:pt>
                <c:pt idx="53">
                  <c:v>482.01135241186614</c:v>
                </c:pt>
                <c:pt idx="54">
                  <c:v>468.01276872815527</c:v>
                </c:pt>
                <c:pt idx="55">
                  <c:v>461.96261265376586</c:v>
                </c:pt>
                <c:pt idx="56">
                  <c:v>449.75943850063106</c:v>
                </c:pt>
                <c:pt idx="57">
                  <c:v>427.8965870293444</c:v>
                </c:pt>
                <c:pt idx="58">
                  <c:v>413.07510731078605</c:v>
                </c:pt>
                <c:pt idx="59">
                  <c:v>397.3559228269396</c:v>
                </c:pt>
                <c:pt idx="60">
                  <c:v>361.13914620234885</c:v>
                </c:pt>
                <c:pt idx="61">
                  <c:v>344.22302203145165</c:v>
                </c:pt>
                <c:pt idx="62">
                  <c:v>345.92492064897692</c:v>
                </c:pt>
                <c:pt idx="63">
                  <c:v>294.34430101013294</c:v>
                </c:pt>
                <c:pt idx="64">
                  <c:v>265.82347252962637</c:v>
                </c:pt>
                <c:pt idx="65">
                  <c:v>263.85039226425363</c:v>
                </c:pt>
                <c:pt idx="66">
                  <c:v>254.85464242876267</c:v>
                </c:pt>
                <c:pt idx="67">
                  <c:v>264.0374140903553</c:v>
                </c:pt>
                <c:pt idx="68">
                  <c:v>264.44886210777901</c:v>
                </c:pt>
                <c:pt idx="69">
                  <c:v>255.668187372305</c:v>
                </c:pt>
                <c:pt idx="70">
                  <c:v>278.56900997845605</c:v>
                </c:pt>
                <c:pt idx="71">
                  <c:v>273.66903813459191</c:v>
                </c:pt>
                <c:pt idx="72">
                  <c:v>242.4737975408313</c:v>
                </c:pt>
                <c:pt idx="73">
                  <c:v>223.60329528717153</c:v>
                </c:pt>
                <c:pt idx="74">
                  <c:v>208.6041448338166</c:v>
                </c:pt>
                <c:pt idx="75">
                  <c:v>202.40437129854587</c:v>
                </c:pt>
                <c:pt idx="76">
                  <c:v>200.97365432886795</c:v>
                </c:pt>
                <c:pt idx="77">
                  <c:v>196.00822484586831</c:v>
                </c:pt>
                <c:pt idx="78">
                  <c:v>184.4035205362589</c:v>
                </c:pt>
                <c:pt idx="79">
                  <c:v>177.24993568786954</c:v>
                </c:pt>
                <c:pt idx="80">
                  <c:v>171.29329052653097</c:v>
                </c:pt>
                <c:pt idx="81">
                  <c:v>165.50496500868391</c:v>
                </c:pt>
                <c:pt idx="82">
                  <c:v>163.28875636937894</c:v>
                </c:pt>
                <c:pt idx="83">
                  <c:v>163.19524545632811</c:v>
                </c:pt>
                <c:pt idx="84">
                  <c:v>155.92944751227773</c:v>
                </c:pt>
                <c:pt idx="85">
                  <c:v>150.69999999999999</c:v>
                </c:pt>
                <c:pt idx="86">
                  <c:v>146.4</c:v>
                </c:pt>
                <c:pt idx="87">
                  <c:v>142.6</c:v>
                </c:pt>
                <c:pt idx="88">
                  <c:v>138.6</c:v>
                </c:pt>
                <c:pt idx="89">
                  <c:v>137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C$155:$C$280</c:f>
              <c:numCache>
                <c:formatCode>General</c:formatCode>
                <c:ptCount val="12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D$155:$D$280</c:f>
              <c:numCache>
                <c:formatCode>General</c:formatCode>
                <c:ptCount val="126"/>
                <c:pt idx="84" formatCode="0">
                  <c:v>170.99474695523804</c:v>
                </c:pt>
                <c:pt idx="85" formatCode="0">
                  <c:v>164.6939331319042</c:v>
                </c:pt>
                <c:pt idx="86" formatCode="0">
                  <c:v>158.12516246310662</c:v>
                </c:pt>
                <c:pt idx="87" formatCode="0">
                  <c:v>151.50280042521626</c:v>
                </c:pt>
                <c:pt idx="88" formatCode="0">
                  <c:v>144.93402975641871</c:v>
                </c:pt>
                <c:pt idx="89" formatCode="0">
                  <c:v>138.3422913580099</c:v>
                </c:pt>
                <c:pt idx="90" formatCode="0">
                  <c:v>131.68164977076759</c:v>
                </c:pt>
                <c:pt idx="91" formatCode="0">
                  <c:v>124.92148135521016</c:v>
                </c:pt>
                <c:pt idx="92" formatCode="0">
                  <c:v>118.84268891811774</c:v>
                </c:pt>
                <c:pt idx="93" formatCode="0">
                  <c:v>113.19262743376736</c:v>
                </c:pt>
                <c:pt idx="94" formatCode="0">
                  <c:v>107.81817870475116</c:v>
                </c:pt>
                <c:pt idx="95" formatCode="0">
                  <c:v>102.59684817314283</c:v>
                </c:pt>
                <c:pt idx="96" formatCode="0">
                  <c:v>97.559259478423925</c:v>
                </c:pt>
                <c:pt idx="97" formatCode="0">
                  <c:v>92.759003989687216</c:v>
                </c:pt>
                <c:pt idx="98" formatCode="0">
                  <c:v>88.226705346414278</c:v>
                </c:pt>
                <c:pt idx="99" formatCode="0">
                  <c:v>84.008299007827475</c:v>
                </c:pt>
                <c:pt idx="100" formatCode="0">
                  <c:v>80.004258145611715</c:v>
                </c:pt>
                <c:pt idx="101" formatCode="0">
                  <c:v>76.160991390674198</c:v>
                </c:pt>
                <c:pt idx="102" formatCode="0">
                  <c:v>72.478498743014939</c:v>
                </c:pt>
                <c:pt idx="103" formatCode="0">
                  <c:v>68.995059751985906</c:v>
                </c:pt>
                <c:pt idx="104" formatCode="0">
                  <c:v>65.7106744175871</c:v>
                </c:pt>
                <c:pt idx="105" formatCode="0">
                  <c:v>62.602375010207361</c:v>
                </c:pt>
                <c:pt idx="106" formatCode="0">
                  <c:v>59.647193800235485</c:v>
                </c:pt>
                <c:pt idx="107" formatCode="0">
                  <c:v>56.829818967930684</c:v>
                </c:pt>
                <c:pt idx="108" formatCode="0">
                  <c:v>54.150250513292974</c:v>
                </c:pt>
                <c:pt idx="109" formatCode="0">
                  <c:v>51.608488436322347</c:v>
                </c:pt>
                <c:pt idx="110" formatCode="0">
                  <c:v>49.204532737018802</c:v>
                </c:pt>
                <c:pt idx="111" formatCode="0">
                  <c:v>46.915415685771151</c:v>
                </c:pt>
                <c:pt idx="112" formatCode="0">
                  <c:v>44.748793192449803</c:v>
                </c:pt>
                <c:pt idx="113" formatCode="0">
                  <c:v>42.697009347184355</c:v>
                </c:pt>
                <c:pt idx="114" formatCode="0">
                  <c:v>40.737096420363628</c:v>
                </c:pt>
                <c:pt idx="115" formatCode="0">
                  <c:v>38.884366231728407</c:v>
                </c:pt>
                <c:pt idx="116" formatCode="0">
                  <c:v>37.123506961537906</c:v>
                </c:pt>
                <c:pt idx="117" formatCode="0">
                  <c:v>35.446862699921745</c:v>
                </c:pt>
                <c:pt idx="118" formatCode="0">
                  <c:v>33.862089356750296</c:v>
                </c:pt>
                <c:pt idx="119" formatCode="0">
                  <c:v>32.353875112282779</c:v>
                </c:pt>
                <c:pt idx="120" formatCode="0">
                  <c:v>30.914564056648807</c:v>
                </c:pt>
                <c:pt idx="121" formatCode="0">
                  <c:v>29.559468009589164</c:v>
                </c:pt>
                <c:pt idx="122" formatCode="0">
                  <c:v>28.265619241492672</c:v>
                </c:pt>
                <c:pt idx="123" formatCode="0">
                  <c:v>27.040673662229718</c:v>
                </c:pt>
                <c:pt idx="124" formatCode="0">
                  <c:v>25.876975361929908</c:v>
                </c:pt>
                <c:pt idx="125" formatCode="0">
                  <c:v>24.7745243405932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8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E$155:$E$280</c:f>
              <c:numCache>
                <c:formatCode>General</c:formatCode>
                <c:ptCount val="126"/>
                <c:pt idx="84" formatCode="0">
                  <c:v>170.99474695523804</c:v>
                </c:pt>
                <c:pt idx="85" formatCode="0">
                  <c:v>165.70451323479614</c:v>
                </c:pt>
                <c:pt idx="86" formatCode="0">
                  <c:v>160.69754817955882</c:v>
                </c:pt>
                <c:pt idx="87" formatCode="0">
                  <c:v>155.93557224017411</c:v>
                </c:pt>
                <c:pt idx="88" formatCode="0">
                  <c:v>151.37264995741961</c:v>
                </c:pt>
                <c:pt idx="89" formatCode="0">
                  <c:v>147.03940497077687</c:v>
                </c:pt>
                <c:pt idx="90" formatCode="0">
                  <c:v>142.94349319011638</c:v>
                </c:pt>
                <c:pt idx="91" formatCode="0">
                  <c:v>139.07725870556766</c:v>
                </c:pt>
                <c:pt idx="92" formatCode="0">
                  <c:v>135.22633604075978</c:v>
                </c:pt>
                <c:pt idx="93" formatCode="0">
                  <c:v>131.4443165647854</c:v>
                </c:pt>
                <c:pt idx="94" formatCode="0">
                  <c:v>127.7847916467373</c:v>
                </c:pt>
                <c:pt idx="95" formatCode="0">
                  <c:v>124.27072901622672</c:v>
                </c:pt>
                <c:pt idx="96" formatCode="0">
                  <c:v>120.87150503377202</c:v>
                </c:pt>
                <c:pt idx="97" formatCode="0">
                  <c:v>117.57946378950282</c:v>
                </c:pt>
                <c:pt idx="98" formatCode="0">
                  <c:v>114.37163755380797</c:v>
                </c:pt>
                <c:pt idx="99" formatCode="0">
                  <c:v>111.23271450694666</c:v>
                </c:pt>
                <c:pt idx="100" formatCode="0">
                  <c:v>108.18566237853005</c:v>
                </c:pt>
                <c:pt idx="101" formatCode="0">
                  <c:v>105.23813707842855</c:v>
                </c:pt>
                <c:pt idx="102" formatCode="0">
                  <c:v>102.3901386066422</c:v>
                </c:pt>
                <c:pt idx="103" formatCode="0">
                  <c:v>99.618699233559767</c:v>
                </c:pt>
                <c:pt idx="104" formatCode="0">
                  <c:v>96.916163049310853</c:v>
                </c:pt>
                <c:pt idx="105" formatCode="0">
                  <c:v>94.290185963765907</c:v>
                </c:pt>
                <c:pt idx="106" formatCode="0">
                  <c:v>91.74842388679528</c:v>
                </c:pt>
                <c:pt idx="107" formatCode="0">
                  <c:v>89.283220908528591</c:v>
                </c:pt>
                <c:pt idx="108" formatCode="0">
                  <c:v>86.894577028965827</c:v>
                </c:pt>
                <c:pt idx="109" formatCode="0">
                  <c:v>84.5671804283662</c:v>
                </c:pt>
                <c:pt idx="110" formatCode="0">
                  <c:v>82.316342926470512</c:v>
                </c:pt>
                <c:pt idx="111" formatCode="0">
                  <c:v>80.126752703537989</c:v>
                </c:pt>
                <c:pt idx="112" formatCode="0">
                  <c:v>77.998409759568617</c:v>
                </c:pt>
                <c:pt idx="113" formatCode="0">
                  <c:v>75.931314094562396</c:v>
                </c:pt>
                <c:pt idx="114" formatCode="0">
                  <c:v>73.925465708519297</c:v>
                </c:pt>
                <c:pt idx="115" formatCode="0">
                  <c:v>71.973208691568971</c:v>
                </c:pt>
                <c:pt idx="116" formatCode="0">
                  <c:v>70.082198953581766</c:v>
                </c:pt>
                <c:pt idx="117" formatCode="0">
                  <c:v>68.237124674816968</c:v>
                </c:pt>
                <c:pt idx="118" formatCode="0">
                  <c:v>66.453297675015278</c:v>
                </c:pt>
                <c:pt idx="119" formatCode="0">
                  <c:v>64.715406134435952</c:v>
                </c:pt>
                <c:pt idx="120" formatCode="0">
                  <c:v>63.03110596294939</c:v>
                </c:pt>
                <c:pt idx="121" formatCode="0">
                  <c:v>61.400397160555592</c:v>
                </c:pt>
                <c:pt idx="122" formatCode="0">
                  <c:v>59.815623817384143</c:v>
                </c:pt>
                <c:pt idx="123" formatCode="0">
                  <c:v>58.27678593343505</c:v>
                </c:pt>
                <c:pt idx="124" formatCode="0">
                  <c:v>56.783883508708321</c:v>
                </c:pt>
                <c:pt idx="125" formatCode="0">
                  <c:v>55.3292606333335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14A-45E8-87A1-7BD2345ADB46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F$155:$F$280</c:f>
              <c:numCache>
                <c:formatCode>General</c:formatCode>
                <c:ptCount val="126"/>
                <c:pt idx="84" formatCode="0">
                  <c:v>170.99474695523804</c:v>
                </c:pt>
                <c:pt idx="85" formatCode="0">
                  <c:v>166.70743742781769</c:v>
                </c:pt>
                <c:pt idx="86" formatCode="0">
                  <c:v>163.26227798614065</c:v>
                </c:pt>
                <c:pt idx="87" formatCode="0">
                  <c:v>160.36068814526149</c:v>
                </c:pt>
                <c:pt idx="88" formatCode="0">
                  <c:v>157.8036142485501</c:v>
                </c:pt>
                <c:pt idx="89" formatCode="0">
                  <c:v>155.77479813289582</c:v>
                </c:pt>
                <c:pt idx="90" formatCode="0">
                  <c:v>154.36611071674341</c:v>
                </c:pt>
                <c:pt idx="91" formatCode="0">
                  <c:v>153.61583154944486</c:v>
                </c:pt>
                <c:pt idx="92" formatCode="0">
                  <c:v>152.32198278134837</c:v>
                </c:pt>
                <c:pt idx="93" formatCode="0">
                  <c:v>150.80611262701044</c:v>
                </c:pt>
                <c:pt idx="94" formatCode="0">
                  <c:v>149.32852202202454</c:v>
                </c:pt>
                <c:pt idx="95" formatCode="0">
                  <c:v>148.10357644276158</c:v>
                </c:pt>
                <c:pt idx="96" formatCode="0">
                  <c:v>147.02409315103611</c:v>
                </c:pt>
                <c:pt idx="97" formatCode="0">
                  <c:v>145.97523349879222</c:v>
                </c:pt>
                <c:pt idx="98" formatCode="0">
                  <c:v>144.84981474784436</c:v>
                </c:pt>
                <c:pt idx="99" formatCode="0">
                  <c:v>143.59424552909985</c:v>
                </c:pt>
                <c:pt idx="100" formatCode="0">
                  <c:v>142.36929994983686</c:v>
                </c:pt>
                <c:pt idx="101" formatCode="0">
                  <c:v>141.23622528901865</c:v>
                </c:pt>
                <c:pt idx="102" formatCode="0">
                  <c:v>140.17970972690432</c:v>
                </c:pt>
                <c:pt idx="103" formatCode="0">
                  <c:v>139.10788234504926</c:v>
                </c:pt>
                <c:pt idx="104" formatCode="0">
                  <c:v>138.0054313237126</c:v>
                </c:pt>
                <c:pt idx="105" formatCode="0">
                  <c:v>136.88001257276477</c:v>
                </c:pt>
                <c:pt idx="106" formatCode="0">
                  <c:v>135.76224973168732</c:v>
                </c:pt>
                <c:pt idx="107" formatCode="0">
                  <c:v>134.69807825970261</c:v>
                </c:pt>
                <c:pt idx="108" formatCode="0">
                  <c:v>133.66453042719951</c:v>
                </c:pt>
                <c:pt idx="109" formatCode="0">
                  <c:v>132.63098259469638</c:v>
                </c:pt>
                <c:pt idx="110" formatCode="0">
                  <c:v>131.58212294245249</c:v>
                </c:pt>
                <c:pt idx="111" formatCode="0">
                  <c:v>130.53326329020857</c:v>
                </c:pt>
                <c:pt idx="112" formatCode="0">
                  <c:v>129.50737136757584</c:v>
                </c:pt>
                <c:pt idx="113" formatCode="0">
                  <c:v>128.49679126468391</c:v>
                </c:pt>
                <c:pt idx="114" formatCode="0">
                  <c:v>127.50152298153277</c:v>
                </c:pt>
                <c:pt idx="115" formatCode="0">
                  <c:v>126.51391060825202</c:v>
                </c:pt>
                <c:pt idx="116" formatCode="0">
                  <c:v>125.52629823497125</c:v>
                </c:pt>
                <c:pt idx="117" formatCode="0">
                  <c:v>124.55399768143127</c:v>
                </c:pt>
                <c:pt idx="118" formatCode="0">
                  <c:v>123.5816971278913</c:v>
                </c:pt>
                <c:pt idx="119" formatCode="0">
                  <c:v>122.62470839409212</c:v>
                </c:pt>
                <c:pt idx="120" formatCode="0">
                  <c:v>121.68303148003372</c:v>
                </c:pt>
                <c:pt idx="121" formatCode="0">
                  <c:v>120.74135456597533</c:v>
                </c:pt>
                <c:pt idx="122" formatCode="0">
                  <c:v>119.80733356178732</c:v>
                </c:pt>
                <c:pt idx="123" formatCode="0">
                  <c:v>118.8809684674697</c:v>
                </c:pt>
                <c:pt idx="124" formatCode="0">
                  <c:v>117.9622592830225</c:v>
                </c:pt>
                <c:pt idx="125" formatCode="0">
                  <c:v>117.058861918316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3.5150502573499692E-2"/>
          <c:w val="0.7773224572899825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0–4 roky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3.1 - 9.1</c:v>
                </c:pt>
                <c:pt idx="1">
                  <c:v>10.1 - 16.1</c:v>
                </c:pt>
                <c:pt idx="2">
                  <c:v>17.1 - 23.1</c:v>
                </c:pt>
                <c:pt idx="3">
                  <c:v>24.1 - 30.1</c:v>
                </c:pt>
                <c:pt idx="4">
                  <c:v>31.1 - 6.2</c:v>
                </c:pt>
                <c:pt idx="5">
                  <c:v>7.2 - 13.2</c:v>
                </c:pt>
                <c:pt idx="6">
                  <c:v>14.2 - 20.2</c:v>
                </c:pt>
                <c:pt idx="7">
                  <c:v>21.2 - 27.2</c:v>
                </c:pt>
                <c:pt idx="8">
                  <c:v>28.2 - 6.3</c:v>
                </c:pt>
                <c:pt idx="9">
                  <c:v>7.3 - 13.3</c:v>
                </c:pt>
                <c:pt idx="10">
                  <c:v>14.3 - 20.3</c:v>
                </c:pt>
                <c:pt idx="11">
                  <c:v>21.3 - 27.3</c:v>
                </c:pt>
                <c:pt idx="12">
                  <c:v>28.3 - 3.4</c:v>
                </c:pt>
                <c:pt idx="13">
                  <c:v>4.4 - 10.4</c:v>
                </c:pt>
                <c:pt idx="14">
                  <c:v>11.4 - 17.4</c:v>
                </c:pt>
                <c:pt idx="15">
                  <c:v>18.4 - 24.4</c:v>
                </c:pt>
                <c:pt idx="16">
                  <c:v>25.4 - 1.5</c:v>
                </c:pt>
              </c:strCache>
            </c:strRef>
          </c:cat>
          <c:val>
            <c:numRef>
              <c:f>List1!$B$2:$R$2</c:f>
              <c:numCache>
                <c:formatCode>###0</c:formatCode>
                <c:ptCount val="17"/>
                <c:pt idx="0">
                  <c:v>268.09745738129436</c:v>
                </c:pt>
                <c:pt idx="1">
                  <c:v>239.61759633488799</c:v>
                </c:pt>
                <c:pt idx="2">
                  <c:v>222.91644325211885</c:v>
                </c:pt>
                <c:pt idx="3">
                  <c:v>223.268046474914</c:v>
                </c:pt>
                <c:pt idx="4">
                  <c:v>246.64966079079082</c:v>
                </c:pt>
                <c:pt idx="5">
                  <c:v>263.70241709635508</c:v>
                </c:pt>
                <c:pt idx="6">
                  <c:v>333.84726004398556</c:v>
                </c:pt>
                <c:pt idx="7">
                  <c:v>440.383036550913</c:v>
                </c:pt>
                <c:pt idx="8">
                  <c:v>449.52472034358669</c:v>
                </c:pt>
                <c:pt idx="9">
                  <c:v>378.50086933896836</c:v>
                </c:pt>
                <c:pt idx="10">
                  <c:v>332.9682519869977</c:v>
                </c:pt>
                <c:pt idx="11">
                  <c:v>275.83272828278746</c:v>
                </c:pt>
                <c:pt idx="12">
                  <c:v>197.77681282226632</c:v>
                </c:pt>
                <c:pt idx="13">
                  <c:v>151.71679063610296</c:v>
                </c:pt>
                <c:pt idx="14">
                  <c:v>138.35586816988766</c:v>
                </c:pt>
                <c:pt idx="15">
                  <c:v>105.65676844993961</c:v>
                </c:pt>
                <c:pt idx="16">
                  <c:v>94.4054653204951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5–11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3.1 - 9.1</c:v>
                </c:pt>
                <c:pt idx="1">
                  <c:v>10.1 - 16.1</c:v>
                </c:pt>
                <c:pt idx="2">
                  <c:v>17.1 - 23.1</c:v>
                </c:pt>
                <c:pt idx="3">
                  <c:v>24.1 - 30.1</c:v>
                </c:pt>
                <c:pt idx="4">
                  <c:v>31.1 - 6.2</c:v>
                </c:pt>
                <c:pt idx="5">
                  <c:v>7.2 - 13.2</c:v>
                </c:pt>
                <c:pt idx="6">
                  <c:v>14.2 - 20.2</c:v>
                </c:pt>
                <c:pt idx="7">
                  <c:v>21.2 - 27.2</c:v>
                </c:pt>
                <c:pt idx="8">
                  <c:v>28.2 - 6.3</c:v>
                </c:pt>
                <c:pt idx="9">
                  <c:v>7.3 - 13.3</c:v>
                </c:pt>
                <c:pt idx="10">
                  <c:v>14.3 - 20.3</c:v>
                </c:pt>
                <c:pt idx="11">
                  <c:v>21.3 - 27.3</c:v>
                </c:pt>
                <c:pt idx="12">
                  <c:v>28.3 - 3.4</c:v>
                </c:pt>
                <c:pt idx="13">
                  <c:v>4.4 - 10.4</c:v>
                </c:pt>
                <c:pt idx="14">
                  <c:v>11.4 - 17.4</c:v>
                </c:pt>
                <c:pt idx="15">
                  <c:v>18.4 - 24.4</c:v>
                </c:pt>
                <c:pt idx="16">
                  <c:v>25.4 - 1.5</c:v>
                </c:pt>
              </c:strCache>
            </c:strRef>
          </c:cat>
          <c:val>
            <c:numRef>
              <c:f>List1!$B$3:$R$3</c:f>
              <c:numCache>
                <c:formatCode>###0</c:formatCode>
                <c:ptCount val="17"/>
                <c:pt idx="0">
                  <c:v>466.8345969302876</c:v>
                </c:pt>
                <c:pt idx="1">
                  <c:v>434.82237543043465</c:v>
                </c:pt>
                <c:pt idx="2">
                  <c:v>414.4284891467446</c:v>
                </c:pt>
                <c:pt idx="3">
                  <c:v>393.29300699819305</c:v>
                </c:pt>
                <c:pt idx="4">
                  <c:v>441.86753614661853</c:v>
                </c:pt>
                <c:pt idx="5">
                  <c:v>482.90250733561919</c:v>
                </c:pt>
                <c:pt idx="6">
                  <c:v>633.07566997006438</c:v>
                </c:pt>
                <c:pt idx="7">
                  <c:v>772.12489463158761</c:v>
                </c:pt>
                <c:pt idx="8">
                  <c:v>718.60639305075244</c:v>
                </c:pt>
                <c:pt idx="9">
                  <c:v>558.2980869298674</c:v>
                </c:pt>
                <c:pt idx="10">
                  <c:v>446.68790926821799</c:v>
                </c:pt>
                <c:pt idx="11">
                  <c:v>354.85362133620748</c:v>
                </c:pt>
                <c:pt idx="12">
                  <c:v>250.28860439074197</c:v>
                </c:pt>
                <c:pt idx="13">
                  <c:v>196.52290418828628</c:v>
                </c:pt>
                <c:pt idx="14">
                  <c:v>196.89370212071699</c:v>
                </c:pt>
                <c:pt idx="15">
                  <c:v>170.69064822894549</c:v>
                </c:pt>
                <c:pt idx="16">
                  <c:v>145.229190202035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12–19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3.1 - 9.1</c:v>
                </c:pt>
                <c:pt idx="1">
                  <c:v>10.1 - 16.1</c:v>
                </c:pt>
                <c:pt idx="2">
                  <c:v>17.1 - 23.1</c:v>
                </c:pt>
                <c:pt idx="3">
                  <c:v>24.1 - 30.1</c:v>
                </c:pt>
                <c:pt idx="4">
                  <c:v>31.1 - 6.2</c:v>
                </c:pt>
                <c:pt idx="5">
                  <c:v>7.2 - 13.2</c:v>
                </c:pt>
                <c:pt idx="6">
                  <c:v>14.2 - 20.2</c:v>
                </c:pt>
                <c:pt idx="7">
                  <c:v>21.2 - 27.2</c:v>
                </c:pt>
                <c:pt idx="8">
                  <c:v>28.2 - 6.3</c:v>
                </c:pt>
                <c:pt idx="9">
                  <c:v>7.3 - 13.3</c:v>
                </c:pt>
                <c:pt idx="10">
                  <c:v>14.3 - 20.3</c:v>
                </c:pt>
                <c:pt idx="11">
                  <c:v>21.3 - 27.3</c:v>
                </c:pt>
                <c:pt idx="12">
                  <c:v>28.3 - 3.4</c:v>
                </c:pt>
                <c:pt idx="13">
                  <c:v>4.4 - 10.4</c:v>
                </c:pt>
                <c:pt idx="14">
                  <c:v>11.4 - 17.4</c:v>
                </c:pt>
                <c:pt idx="15">
                  <c:v>18.4 - 24.4</c:v>
                </c:pt>
                <c:pt idx="16">
                  <c:v>25.4 - 1.5</c:v>
                </c:pt>
              </c:strCache>
            </c:strRef>
          </c:cat>
          <c:val>
            <c:numRef>
              <c:f>List1!$B$4:$R$4</c:f>
              <c:numCache>
                <c:formatCode>###0</c:formatCode>
                <c:ptCount val="17"/>
                <c:pt idx="0">
                  <c:v>738.20592020909669</c:v>
                </c:pt>
                <c:pt idx="1">
                  <c:v>479.30320864127907</c:v>
                </c:pt>
                <c:pt idx="2">
                  <c:v>380.45617719903794</c:v>
                </c:pt>
                <c:pt idx="3">
                  <c:v>371.07743264272045</c:v>
                </c:pt>
                <c:pt idx="4">
                  <c:v>402.17537511893113</c:v>
                </c:pt>
                <c:pt idx="5">
                  <c:v>429.57118158606909</c:v>
                </c:pt>
                <c:pt idx="6">
                  <c:v>544.21399333368709</c:v>
                </c:pt>
                <c:pt idx="7">
                  <c:v>713.27820441467384</c:v>
                </c:pt>
                <c:pt idx="8">
                  <c:v>752.15063250993717</c:v>
                </c:pt>
                <c:pt idx="9">
                  <c:v>730.30803005640826</c:v>
                </c:pt>
                <c:pt idx="10">
                  <c:v>632.07802128234584</c:v>
                </c:pt>
                <c:pt idx="11">
                  <c:v>474.98404996402758</c:v>
                </c:pt>
                <c:pt idx="12">
                  <c:v>353.30717979917148</c:v>
                </c:pt>
                <c:pt idx="13">
                  <c:v>271.48997399866477</c:v>
                </c:pt>
                <c:pt idx="14">
                  <c:v>240.76224512336134</c:v>
                </c:pt>
                <c:pt idx="15">
                  <c:v>175.97486496458907</c:v>
                </c:pt>
                <c:pt idx="16">
                  <c:v>154.872689712874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0–19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3.1 - 9.1</c:v>
                </c:pt>
                <c:pt idx="1">
                  <c:v>10.1 - 16.1</c:v>
                </c:pt>
                <c:pt idx="2">
                  <c:v>17.1 - 23.1</c:v>
                </c:pt>
                <c:pt idx="3">
                  <c:v>24.1 - 30.1</c:v>
                </c:pt>
                <c:pt idx="4">
                  <c:v>31.1 - 6.2</c:v>
                </c:pt>
                <c:pt idx="5">
                  <c:v>7.2 - 13.2</c:v>
                </c:pt>
                <c:pt idx="6">
                  <c:v>14.2 - 20.2</c:v>
                </c:pt>
                <c:pt idx="7">
                  <c:v>21.2 - 27.2</c:v>
                </c:pt>
                <c:pt idx="8">
                  <c:v>28.2 - 6.3</c:v>
                </c:pt>
                <c:pt idx="9">
                  <c:v>7.3 - 13.3</c:v>
                </c:pt>
                <c:pt idx="10">
                  <c:v>14.3 - 20.3</c:v>
                </c:pt>
                <c:pt idx="11">
                  <c:v>21.3 - 27.3</c:v>
                </c:pt>
                <c:pt idx="12">
                  <c:v>28.3 - 3.4</c:v>
                </c:pt>
                <c:pt idx="13">
                  <c:v>4.4 - 10.4</c:v>
                </c:pt>
                <c:pt idx="14">
                  <c:v>11.4 - 17.4</c:v>
                </c:pt>
                <c:pt idx="15">
                  <c:v>18.4 - 24.4</c:v>
                </c:pt>
                <c:pt idx="16">
                  <c:v>25.4 - 1.5</c:v>
                </c:pt>
              </c:strCache>
            </c:strRef>
          </c:cat>
          <c:val>
            <c:numRef>
              <c:f>List1!$B$5:$R$5</c:f>
              <c:numCache>
                <c:formatCode>###0</c:formatCode>
                <c:ptCount val="17"/>
                <c:pt idx="0">
                  <c:v>515.6674429402367</c:v>
                </c:pt>
                <c:pt idx="1">
                  <c:v>400.55167824983823</c:v>
                </c:pt>
                <c:pt idx="2">
                  <c:v>352.06504611942427</c:v>
                </c:pt>
                <c:pt idx="3">
                  <c:v>340.86879270570944</c:v>
                </c:pt>
                <c:pt idx="4">
                  <c:v>376.42260966844464</c:v>
                </c:pt>
                <c:pt idx="5">
                  <c:v>406.17265445345834</c:v>
                </c:pt>
                <c:pt idx="6">
                  <c:v>522.38519498846563</c:v>
                </c:pt>
                <c:pt idx="7">
                  <c:v>664.09777391062744</c:v>
                </c:pt>
                <c:pt idx="8">
                  <c:v>661.08164033795322</c:v>
                </c:pt>
                <c:pt idx="9">
                  <c:v>575.25893049731474</c:v>
                </c:pt>
                <c:pt idx="10">
                  <c:v>485.78030117464692</c:v>
                </c:pt>
                <c:pt idx="11">
                  <c:v>378.79895733176375</c:v>
                </c:pt>
                <c:pt idx="12">
                  <c:v>274.78804806802935</c:v>
                </c:pt>
                <c:pt idx="13">
                  <c:v>212.63741687353078</c:v>
                </c:pt>
                <c:pt idx="14">
                  <c:v>197.92234095836272</c:v>
                </c:pt>
                <c:pt idx="15">
                  <c:v>155.74216993444935</c:v>
                </c:pt>
                <c:pt idx="16">
                  <c:v>135.58891378976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3.1 - 9.1</c:v>
                </c:pt>
                <c:pt idx="1">
                  <c:v>10.1 - 16.1</c:v>
                </c:pt>
                <c:pt idx="2">
                  <c:v>17.1 - 23.1</c:v>
                </c:pt>
                <c:pt idx="3">
                  <c:v>24.1 - 30.1</c:v>
                </c:pt>
                <c:pt idx="4">
                  <c:v>31.1 - 6.2</c:v>
                </c:pt>
                <c:pt idx="5">
                  <c:v>7.2 - 13.2</c:v>
                </c:pt>
                <c:pt idx="6">
                  <c:v>14.2 - 20.2</c:v>
                </c:pt>
                <c:pt idx="7">
                  <c:v>21.2 - 27.2</c:v>
                </c:pt>
                <c:pt idx="8">
                  <c:v>28.2 - 6.3</c:v>
                </c:pt>
                <c:pt idx="9">
                  <c:v>7.3 - 13.3</c:v>
                </c:pt>
                <c:pt idx="10">
                  <c:v>14.3 - 20.3</c:v>
                </c:pt>
                <c:pt idx="11">
                  <c:v>21.3 - 27.3</c:v>
                </c:pt>
                <c:pt idx="12">
                  <c:v>28.3 - 3.4</c:v>
                </c:pt>
                <c:pt idx="13">
                  <c:v>4.4 - 10.4</c:v>
                </c:pt>
                <c:pt idx="14">
                  <c:v>11.4 - 17.4</c:v>
                </c:pt>
                <c:pt idx="15">
                  <c:v>18.4 - 24.4</c:v>
                </c:pt>
                <c:pt idx="16">
                  <c:v>25.4 - 1.5</c:v>
                </c:pt>
              </c:strCache>
            </c:strRef>
          </c:cat>
          <c:val>
            <c:numRef>
              <c:f>List1!$B$6:$R$6</c:f>
              <c:numCache>
                <c:formatCode>###0</c:formatCode>
                <c:ptCount val="17"/>
                <c:pt idx="0">
                  <c:v>849.11649486686451</c:v>
                </c:pt>
                <c:pt idx="1">
                  <c:v>542.84955244274715</c:v>
                </c:pt>
                <c:pt idx="2">
                  <c:v>452.2655309703967</c:v>
                </c:pt>
                <c:pt idx="3">
                  <c:v>441.12838122604143</c:v>
                </c:pt>
                <c:pt idx="4">
                  <c:v>468.94787785866686</c:v>
                </c:pt>
                <c:pt idx="5">
                  <c:v>495.93512736513981</c:v>
                </c:pt>
                <c:pt idx="6">
                  <c:v>608.68123523053987</c:v>
                </c:pt>
                <c:pt idx="7">
                  <c:v>769.49195240407266</c:v>
                </c:pt>
                <c:pt idx="8">
                  <c:v>802.95015709366385</c:v>
                </c:pt>
                <c:pt idx="9">
                  <c:v>726.38342148763456</c:v>
                </c:pt>
                <c:pt idx="10">
                  <c:v>615.6665004354378</c:v>
                </c:pt>
                <c:pt idx="11">
                  <c:v>467.95666218032795</c:v>
                </c:pt>
                <c:pt idx="12">
                  <c:v>344.17626657492855</c:v>
                </c:pt>
                <c:pt idx="13">
                  <c:v>264.41145774256046</c:v>
                </c:pt>
                <c:pt idx="14">
                  <c:v>202.3576158420218</c:v>
                </c:pt>
                <c:pt idx="15">
                  <c:v>163.40096946504107</c:v>
                </c:pt>
                <c:pt idx="16">
                  <c:v>137.404935636907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4380214565155387"/>
          <c:y val="0.25415522984813471"/>
          <c:w val="0.14190389034991419"/>
          <c:h val="0.5028025214398994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Jihomoravský kraj</c:v>
                </c:pt>
                <c:pt idx="3">
                  <c:v>Liberecký kraj</c:v>
                </c:pt>
                <c:pt idx="4">
                  <c:v>Středočeský kraj</c:v>
                </c:pt>
                <c:pt idx="5">
                  <c:v>Ústecký kraj</c:v>
                </c:pt>
                <c:pt idx="6">
                  <c:v>Olomoucký kraj</c:v>
                </c:pt>
                <c:pt idx="7">
                  <c:v>ČR</c:v>
                </c:pt>
                <c:pt idx="8">
                  <c:v>Moravskoslezský kraj</c:v>
                </c:pt>
                <c:pt idx="9">
                  <c:v>Plzeňský kraj</c:v>
                </c:pt>
                <c:pt idx="10">
                  <c:v>Hlavní město Praha</c:v>
                </c:pt>
                <c:pt idx="11">
                  <c:v>Královéhradecký kraj</c:v>
                </c:pt>
                <c:pt idx="12">
                  <c:v>Pardubický kraj</c:v>
                </c:pt>
                <c:pt idx="13">
                  <c:v>Kraj Vysočina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352.25809586278939</c:v>
                </c:pt>
                <c:pt idx="1">
                  <c:v>472.05123939444354</c:v>
                </c:pt>
                <c:pt idx="2">
                  <c:v>289.05282189212414</c:v>
                </c:pt>
                <c:pt idx="3">
                  <c:v>365.38684607354134</c:v>
                </c:pt>
                <c:pt idx="4">
                  <c:v>278.98793565683644</c:v>
                </c:pt>
                <c:pt idx="5">
                  <c:v>443.56120826709059</c:v>
                </c:pt>
                <c:pt idx="6">
                  <c:v>305.58006412877404</c:v>
                </c:pt>
                <c:pt idx="7">
                  <c:v>296.63834594458308</c:v>
                </c:pt>
                <c:pt idx="8">
                  <c:v>279.44620950349019</c:v>
                </c:pt>
                <c:pt idx="9">
                  <c:v>321.96048456211059</c:v>
                </c:pt>
                <c:pt idx="10">
                  <c:v>189.12339295414765</c:v>
                </c:pt>
                <c:pt idx="11">
                  <c:v>211.54129974910217</c:v>
                </c:pt>
                <c:pt idx="12">
                  <c:v>426.79342687009637</c:v>
                </c:pt>
                <c:pt idx="13">
                  <c:v>119.19919811448541</c:v>
                </c:pt>
                <c:pt idx="14">
                  <c:v>97.7562610557676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D0-42BF-8BD6-5FBE1940F7D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Jihomoravský kraj</c:v>
                </c:pt>
                <c:pt idx="3">
                  <c:v>Liberecký kraj</c:v>
                </c:pt>
                <c:pt idx="4">
                  <c:v>Středočeský kraj</c:v>
                </c:pt>
                <c:pt idx="5">
                  <c:v>Ústecký kraj</c:v>
                </c:pt>
                <c:pt idx="6">
                  <c:v>Olomoucký kraj</c:v>
                </c:pt>
                <c:pt idx="7">
                  <c:v>ČR</c:v>
                </c:pt>
                <c:pt idx="8">
                  <c:v>Moravskoslezský kraj</c:v>
                </c:pt>
                <c:pt idx="9">
                  <c:v>Plzeňský kraj</c:v>
                </c:pt>
                <c:pt idx="10">
                  <c:v>Hlavní město Praha</c:v>
                </c:pt>
                <c:pt idx="11">
                  <c:v>Královéhradecký kraj</c:v>
                </c:pt>
                <c:pt idx="12">
                  <c:v>Pardubický kraj</c:v>
                </c:pt>
                <c:pt idx="13">
                  <c:v>Kraj Vysočina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308.52950465223626</c:v>
                </c:pt>
                <c:pt idx="1">
                  <c:v>332.72334054233903</c:v>
                </c:pt>
                <c:pt idx="2">
                  <c:v>206.46630135151725</c:v>
                </c:pt>
                <c:pt idx="3">
                  <c:v>234.89154390441945</c:v>
                </c:pt>
                <c:pt idx="4">
                  <c:v>171.74932975871315</c:v>
                </c:pt>
                <c:pt idx="5">
                  <c:v>271.86009538950714</c:v>
                </c:pt>
                <c:pt idx="6">
                  <c:v>243.17286793346102</c:v>
                </c:pt>
                <c:pt idx="7">
                  <c:v>209.37723251255153</c:v>
                </c:pt>
                <c:pt idx="8">
                  <c:v>231.90556805268895</c:v>
                </c:pt>
                <c:pt idx="9">
                  <c:v>155.18958608389502</c:v>
                </c:pt>
                <c:pt idx="10">
                  <c:v>130.77681427680423</c:v>
                </c:pt>
                <c:pt idx="11">
                  <c:v>118.06956265066168</c:v>
                </c:pt>
                <c:pt idx="12">
                  <c:v>339.90135193845998</c:v>
                </c:pt>
                <c:pt idx="13">
                  <c:v>135.45363422100615</c:v>
                </c:pt>
                <c:pt idx="14">
                  <c:v>102.411321106042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D0-42BF-8BD6-5FBE1940F7D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1.05.2021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Jihomoravský kraj</c:v>
                </c:pt>
                <c:pt idx="3">
                  <c:v>Liberecký kraj</c:v>
                </c:pt>
                <c:pt idx="4">
                  <c:v>Středočeský kraj</c:v>
                </c:pt>
                <c:pt idx="5">
                  <c:v>Ústecký kraj</c:v>
                </c:pt>
                <c:pt idx="6">
                  <c:v>Olomoucký kraj</c:v>
                </c:pt>
                <c:pt idx="7">
                  <c:v>ČR</c:v>
                </c:pt>
                <c:pt idx="8">
                  <c:v>Moravskoslezský kraj</c:v>
                </c:pt>
                <c:pt idx="9">
                  <c:v>Plzeňský kraj</c:v>
                </c:pt>
                <c:pt idx="10">
                  <c:v>Hlavní město Praha</c:v>
                </c:pt>
                <c:pt idx="11">
                  <c:v>Královéhradecký kraj</c:v>
                </c:pt>
                <c:pt idx="12">
                  <c:v>Pardubický kraj</c:v>
                </c:pt>
                <c:pt idx="13">
                  <c:v>Kraj Vysočina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213.78422369603771</c:v>
                </c:pt>
                <c:pt idx="1">
                  <c:v>210.03160871735153</c:v>
                </c:pt>
                <c:pt idx="2">
                  <c:v>187.49372230840484</c:v>
                </c:pt>
                <c:pt idx="3">
                  <c:v>185.52445444215115</c:v>
                </c:pt>
                <c:pt idx="4">
                  <c:v>184.41971383147853</c:v>
                </c:pt>
                <c:pt idx="5">
                  <c:v>184.21694254056837</c:v>
                </c:pt>
                <c:pt idx="6">
                  <c:v>148.22765723632088</c:v>
                </c:pt>
                <c:pt idx="7">
                  <c:v>145.22919020203545</c:v>
                </c:pt>
                <c:pt idx="8">
                  <c:v>129.11833695582001</c:v>
                </c:pt>
                <c:pt idx="9">
                  <c:v>125.67024128686327</c:v>
                </c:pt>
                <c:pt idx="10">
                  <c:v>118.70510834356075</c:v>
                </c:pt>
                <c:pt idx="11">
                  <c:v>92.796659320264467</c:v>
                </c:pt>
                <c:pt idx="12">
                  <c:v>74.120399323651355</c:v>
                </c:pt>
                <c:pt idx="13">
                  <c:v>46.73586854922025</c:v>
                </c:pt>
                <c:pt idx="14">
                  <c:v>23.2753002513732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6D0-42BF-8BD6-5FBE1940F7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Jihomoravský kraj</c:v>
                </c:pt>
                <c:pt idx="3">
                  <c:v>Liberecký kraj</c:v>
                </c:pt>
                <c:pt idx="4">
                  <c:v>Středočeský kraj</c:v>
                </c:pt>
                <c:pt idx="5">
                  <c:v>Ústecký kraj</c:v>
                </c:pt>
                <c:pt idx="6">
                  <c:v>Olomoucký kraj</c:v>
                </c:pt>
                <c:pt idx="7">
                  <c:v>ČR</c:v>
                </c:pt>
                <c:pt idx="8">
                  <c:v>Moravskoslezský kraj</c:v>
                </c:pt>
                <c:pt idx="9">
                  <c:v>Plzeňský kraj</c:v>
                </c:pt>
                <c:pt idx="10">
                  <c:v>Hlavní město Praha</c:v>
                </c:pt>
                <c:pt idx="11">
                  <c:v>Královéhradecký kraj</c:v>
                </c:pt>
                <c:pt idx="12">
                  <c:v>Pardubický kraj</c:v>
                </c:pt>
                <c:pt idx="13">
                  <c:v>Kraj Vysočina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213.78422369603771</c:v>
                </c:pt>
                <c:pt idx="1">
                  <c:v>210.03160871735153</c:v>
                </c:pt>
                <c:pt idx="2">
                  <c:v>187.49372230840484</c:v>
                </c:pt>
                <c:pt idx="3">
                  <c:v>185.52445444215115</c:v>
                </c:pt>
                <c:pt idx="4">
                  <c:v>184.41971383147853</c:v>
                </c:pt>
                <c:pt idx="5">
                  <c:v>184.21694254056837</c:v>
                </c:pt>
                <c:pt idx="6">
                  <c:v>148.22765723632088</c:v>
                </c:pt>
                <c:pt idx="7">
                  <c:v>145.22919020203545</c:v>
                </c:pt>
                <c:pt idx="8">
                  <c:v>129.11833695582001</c:v>
                </c:pt>
                <c:pt idx="9">
                  <c:v>125.67024128686327</c:v>
                </c:pt>
                <c:pt idx="10">
                  <c:v>118.70510834356075</c:v>
                </c:pt>
                <c:pt idx="11">
                  <c:v>92.796659320264467</c:v>
                </c:pt>
                <c:pt idx="12">
                  <c:v>74.120399323651355</c:v>
                </c:pt>
                <c:pt idx="13">
                  <c:v>46.73586854922025</c:v>
                </c:pt>
                <c:pt idx="14">
                  <c:v>23.2753002513732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2.5682402275193011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 - 34 let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3.1 - 9.1</c:v>
                </c:pt>
                <c:pt idx="1">
                  <c:v>10.1 - 16.1</c:v>
                </c:pt>
                <c:pt idx="2">
                  <c:v>17.1 - 23.1</c:v>
                </c:pt>
                <c:pt idx="3">
                  <c:v>24.1 - 30.1</c:v>
                </c:pt>
                <c:pt idx="4">
                  <c:v>31.1 - 6.2</c:v>
                </c:pt>
                <c:pt idx="5">
                  <c:v>7.2 - 13.2</c:v>
                </c:pt>
                <c:pt idx="6">
                  <c:v>14.2 - 20.2</c:v>
                </c:pt>
                <c:pt idx="7">
                  <c:v>21.2 - 27.2</c:v>
                </c:pt>
                <c:pt idx="8">
                  <c:v>28.2 - 6.3</c:v>
                </c:pt>
                <c:pt idx="9">
                  <c:v>7.3 - 13.3</c:v>
                </c:pt>
                <c:pt idx="10">
                  <c:v>14.3 - 20.3</c:v>
                </c:pt>
                <c:pt idx="11">
                  <c:v>21.3 - 27.3</c:v>
                </c:pt>
                <c:pt idx="12">
                  <c:v>28.3 - 3.4</c:v>
                </c:pt>
                <c:pt idx="13">
                  <c:v>4.4 - 10.4</c:v>
                </c:pt>
                <c:pt idx="14">
                  <c:v>11.4 - 17.4</c:v>
                </c:pt>
                <c:pt idx="15">
                  <c:v>18.4 - 24.4</c:v>
                </c:pt>
                <c:pt idx="16">
                  <c:v>25.4 - 1.5</c:v>
                </c:pt>
              </c:strCache>
            </c:strRef>
          </c:cat>
          <c:val>
            <c:numRef>
              <c:f>List1!$B$2:$R$2</c:f>
              <c:numCache>
                <c:formatCode>General</c:formatCode>
                <c:ptCount val="17"/>
                <c:pt idx="0">
                  <c:v>971.75575684243483</c:v>
                </c:pt>
                <c:pt idx="1">
                  <c:v>547.26553013352907</c:v>
                </c:pt>
                <c:pt idx="2">
                  <c:v>441.02181361739673</c:v>
                </c:pt>
                <c:pt idx="3">
                  <c:v>454.21477385381456</c:v>
                </c:pt>
                <c:pt idx="4">
                  <c:v>478.12364873124119</c:v>
                </c:pt>
                <c:pt idx="5">
                  <c:v>515.49472793154325</c:v>
                </c:pt>
                <c:pt idx="6">
                  <c:v>638.53927544262399</c:v>
                </c:pt>
                <c:pt idx="7">
                  <c:v>831.42573898078206</c:v>
                </c:pt>
                <c:pt idx="8">
                  <c:v>882.09747605208497</c:v>
                </c:pt>
                <c:pt idx="9">
                  <c:v>799.92418086525379</c:v>
                </c:pt>
                <c:pt idx="10">
                  <c:v>678.27970260375207</c:v>
                </c:pt>
                <c:pt idx="11">
                  <c:v>524.00284106360039</c:v>
                </c:pt>
                <c:pt idx="12">
                  <c:v>388.73461202734882</c:v>
                </c:pt>
                <c:pt idx="13">
                  <c:v>298.91478478512443</c:v>
                </c:pt>
                <c:pt idx="14">
                  <c:v>215.01832744496522</c:v>
                </c:pt>
                <c:pt idx="15">
                  <c:v>179.20886394611676</c:v>
                </c:pt>
                <c:pt idx="16">
                  <c:v>147.491910561422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35 - 49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3.1 - 9.1</c:v>
                </c:pt>
                <c:pt idx="1">
                  <c:v>10.1 - 16.1</c:v>
                </c:pt>
                <c:pt idx="2">
                  <c:v>17.1 - 23.1</c:v>
                </c:pt>
                <c:pt idx="3">
                  <c:v>24.1 - 30.1</c:v>
                </c:pt>
                <c:pt idx="4">
                  <c:v>31.1 - 6.2</c:v>
                </c:pt>
                <c:pt idx="5">
                  <c:v>7.2 - 13.2</c:v>
                </c:pt>
                <c:pt idx="6">
                  <c:v>14.2 - 20.2</c:v>
                </c:pt>
                <c:pt idx="7">
                  <c:v>21.2 - 27.2</c:v>
                </c:pt>
                <c:pt idx="8">
                  <c:v>28.2 - 6.3</c:v>
                </c:pt>
                <c:pt idx="9">
                  <c:v>7.3 - 13.3</c:v>
                </c:pt>
                <c:pt idx="10">
                  <c:v>14.3 - 20.3</c:v>
                </c:pt>
                <c:pt idx="11">
                  <c:v>21.3 - 27.3</c:v>
                </c:pt>
                <c:pt idx="12">
                  <c:v>28.3 - 3.4</c:v>
                </c:pt>
                <c:pt idx="13">
                  <c:v>4.4 - 10.4</c:v>
                </c:pt>
                <c:pt idx="14">
                  <c:v>11.4 - 17.4</c:v>
                </c:pt>
                <c:pt idx="15">
                  <c:v>18.4 - 24.4</c:v>
                </c:pt>
                <c:pt idx="16">
                  <c:v>25.4 - 1.5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  <c:pt idx="0">
                  <c:v>985.57956893118137</c:v>
                </c:pt>
                <c:pt idx="1">
                  <c:v>609.56827394305503</c:v>
                </c:pt>
                <c:pt idx="2">
                  <c:v>522.38528230739598</c:v>
                </c:pt>
                <c:pt idx="3">
                  <c:v>517.75294351476555</c:v>
                </c:pt>
                <c:pt idx="4">
                  <c:v>558.85010305964033</c:v>
                </c:pt>
                <c:pt idx="5">
                  <c:v>601.68933873165804</c:v>
                </c:pt>
                <c:pt idx="6">
                  <c:v>740.46153931430342</c:v>
                </c:pt>
                <c:pt idx="7">
                  <c:v>931.65439426825333</c:v>
                </c:pt>
                <c:pt idx="8">
                  <c:v>967.20858431767283</c:v>
                </c:pt>
                <c:pt idx="9">
                  <c:v>865.69305727233689</c:v>
                </c:pt>
                <c:pt idx="10">
                  <c:v>713.65732253985232</c:v>
                </c:pt>
                <c:pt idx="11">
                  <c:v>522.82080133918168</c:v>
                </c:pt>
                <c:pt idx="12">
                  <c:v>382.9795994966986</c:v>
                </c:pt>
                <c:pt idx="13">
                  <c:v>294.05453173389645</c:v>
                </c:pt>
                <c:pt idx="14">
                  <c:v>223.10452219207036</c:v>
                </c:pt>
                <c:pt idx="15">
                  <c:v>184.93721795193622</c:v>
                </c:pt>
                <c:pt idx="16">
                  <c:v>157.024407278394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50 - 64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3.1 - 9.1</c:v>
                </c:pt>
                <c:pt idx="1">
                  <c:v>10.1 - 16.1</c:v>
                </c:pt>
                <c:pt idx="2">
                  <c:v>17.1 - 23.1</c:v>
                </c:pt>
                <c:pt idx="3">
                  <c:v>24.1 - 30.1</c:v>
                </c:pt>
                <c:pt idx="4">
                  <c:v>31.1 - 6.2</c:v>
                </c:pt>
                <c:pt idx="5">
                  <c:v>7.2 - 13.2</c:v>
                </c:pt>
                <c:pt idx="6">
                  <c:v>14.2 - 20.2</c:v>
                </c:pt>
                <c:pt idx="7">
                  <c:v>21.2 - 27.2</c:v>
                </c:pt>
                <c:pt idx="8">
                  <c:v>28.2 - 6.3</c:v>
                </c:pt>
                <c:pt idx="9">
                  <c:v>7.3 - 13.3</c:v>
                </c:pt>
                <c:pt idx="10">
                  <c:v>14.3 - 20.3</c:v>
                </c:pt>
                <c:pt idx="11">
                  <c:v>21.3 - 27.3</c:v>
                </c:pt>
                <c:pt idx="12">
                  <c:v>28.3 - 3.4</c:v>
                </c:pt>
                <c:pt idx="13">
                  <c:v>4.4 - 10.4</c:v>
                </c:pt>
                <c:pt idx="14">
                  <c:v>11.4 - 17.4</c:v>
                </c:pt>
                <c:pt idx="15">
                  <c:v>18.4 - 24.4</c:v>
                </c:pt>
                <c:pt idx="16">
                  <c:v>25.4 - 1.5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  <c:pt idx="0">
                  <c:v>975.89318356212709</c:v>
                </c:pt>
                <c:pt idx="1">
                  <c:v>644.35164093478375</c:v>
                </c:pt>
                <c:pt idx="2">
                  <c:v>543.46297702410027</c:v>
                </c:pt>
                <c:pt idx="3">
                  <c:v>520.96515650046342</c:v>
                </c:pt>
                <c:pt idx="4">
                  <c:v>546.67695138461977</c:v>
                </c:pt>
                <c:pt idx="5">
                  <c:v>578.26429314660083</c:v>
                </c:pt>
                <c:pt idx="6">
                  <c:v>696.02632245001189</c:v>
                </c:pt>
                <c:pt idx="7">
                  <c:v>873.14644072426825</c:v>
                </c:pt>
                <c:pt idx="8">
                  <c:v>917.69011662709363</c:v>
                </c:pt>
                <c:pt idx="9">
                  <c:v>870.03290306251495</c:v>
                </c:pt>
                <c:pt idx="10">
                  <c:v>739.41497631702566</c:v>
                </c:pt>
                <c:pt idx="11">
                  <c:v>558.47826348965248</c:v>
                </c:pt>
                <c:pt idx="12">
                  <c:v>404.5088042810134</c:v>
                </c:pt>
                <c:pt idx="13">
                  <c:v>319.94110391984316</c:v>
                </c:pt>
                <c:pt idx="14">
                  <c:v>221.11139233386743</c:v>
                </c:pt>
                <c:pt idx="15">
                  <c:v>183.89959544097718</c:v>
                </c:pt>
                <c:pt idx="16">
                  <c:v>152.563345425911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65 - 74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3.1 - 9.1</c:v>
                </c:pt>
                <c:pt idx="1">
                  <c:v>10.1 - 16.1</c:v>
                </c:pt>
                <c:pt idx="2">
                  <c:v>17.1 - 23.1</c:v>
                </c:pt>
                <c:pt idx="3">
                  <c:v>24.1 - 30.1</c:v>
                </c:pt>
                <c:pt idx="4">
                  <c:v>31.1 - 6.2</c:v>
                </c:pt>
                <c:pt idx="5">
                  <c:v>7.2 - 13.2</c:v>
                </c:pt>
                <c:pt idx="6">
                  <c:v>14.2 - 20.2</c:v>
                </c:pt>
                <c:pt idx="7">
                  <c:v>21.2 - 27.2</c:v>
                </c:pt>
                <c:pt idx="8">
                  <c:v>28.2 - 6.3</c:v>
                </c:pt>
                <c:pt idx="9">
                  <c:v>7.3 - 13.3</c:v>
                </c:pt>
                <c:pt idx="10">
                  <c:v>14.3 - 20.3</c:v>
                </c:pt>
                <c:pt idx="11">
                  <c:v>21.3 - 27.3</c:v>
                </c:pt>
                <c:pt idx="12">
                  <c:v>28.3 - 3.4</c:v>
                </c:pt>
                <c:pt idx="13">
                  <c:v>4.4 - 10.4</c:v>
                </c:pt>
                <c:pt idx="14">
                  <c:v>11.4 - 17.4</c:v>
                </c:pt>
                <c:pt idx="15">
                  <c:v>18.4 - 24.4</c:v>
                </c:pt>
                <c:pt idx="16">
                  <c:v>25.4 - 1.5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  <c:pt idx="0">
                  <c:v>756.92272648199673</c:v>
                </c:pt>
                <c:pt idx="1">
                  <c:v>457.52363092001553</c:v>
                </c:pt>
                <c:pt idx="2">
                  <c:v>350.80712161079452</c:v>
                </c:pt>
                <c:pt idx="3">
                  <c:v>326.23424117775022</c:v>
                </c:pt>
                <c:pt idx="4">
                  <c:v>349.87101188001185</c:v>
                </c:pt>
                <c:pt idx="5">
                  <c:v>354.78558796662071</c:v>
                </c:pt>
                <c:pt idx="6">
                  <c:v>420.54729655410125</c:v>
                </c:pt>
                <c:pt idx="7">
                  <c:v>529.60408019027886</c:v>
                </c:pt>
                <c:pt idx="8">
                  <c:v>584.91256345068655</c:v>
                </c:pt>
                <c:pt idx="9">
                  <c:v>531.2422722191485</c:v>
                </c:pt>
                <c:pt idx="10">
                  <c:v>472.96944147792908</c:v>
                </c:pt>
                <c:pt idx="11">
                  <c:v>370.54343510146185</c:v>
                </c:pt>
                <c:pt idx="12">
                  <c:v>285.66948617716912</c:v>
                </c:pt>
                <c:pt idx="13">
                  <c:v>210.54668028186222</c:v>
                </c:pt>
                <c:pt idx="14">
                  <c:v>157.96851706957057</c:v>
                </c:pt>
                <c:pt idx="15">
                  <c:v>121.46023756904761</c:v>
                </c:pt>
                <c:pt idx="16">
                  <c:v>100.475777770670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75+ let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3.1 - 9.1</c:v>
                </c:pt>
                <c:pt idx="1">
                  <c:v>10.1 - 16.1</c:v>
                </c:pt>
                <c:pt idx="2">
                  <c:v>17.1 - 23.1</c:v>
                </c:pt>
                <c:pt idx="3">
                  <c:v>24.1 - 30.1</c:v>
                </c:pt>
                <c:pt idx="4">
                  <c:v>31.1 - 6.2</c:v>
                </c:pt>
                <c:pt idx="5">
                  <c:v>7.2 - 13.2</c:v>
                </c:pt>
                <c:pt idx="6">
                  <c:v>14.2 - 20.2</c:v>
                </c:pt>
                <c:pt idx="7">
                  <c:v>21.2 - 27.2</c:v>
                </c:pt>
                <c:pt idx="8">
                  <c:v>28.2 - 6.3</c:v>
                </c:pt>
                <c:pt idx="9">
                  <c:v>7.3 - 13.3</c:v>
                </c:pt>
                <c:pt idx="10">
                  <c:v>14.3 - 20.3</c:v>
                </c:pt>
                <c:pt idx="11">
                  <c:v>21.3 - 27.3</c:v>
                </c:pt>
                <c:pt idx="12">
                  <c:v>28.3 - 3.4</c:v>
                </c:pt>
                <c:pt idx="13">
                  <c:v>4.4 - 10.4</c:v>
                </c:pt>
                <c:pt idx="14">
                  <c:v>11.4 - 17.4</c:v>
                </c:pt>
                <c:pt idx="15">
                  <c:v>18.4 - 24.4</c:v>
                </c:pt>
                <c:pt idx="16">
                  <c:v>25.4 - 1.5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  <c:pt idx="0">
                  <c:v>876.16169390476409</c:v>
                </c:pt>
                <c:pt idx="1">
                  <c:v>592.18880372448257</c:v>
                </c:pt>
                <c:pt idx="2">
                  <c:v>465.79556540967849</c:v>
                </c:pt>
                <c:pt idx="3">
                  <c:v>429.19566120492613</c:v>
                </c:pt>
                <c:pt idx="4">
                  <c:v>417.42720326127579</c:v>
                </c:pt>
                <c:pt idx="5">
                  <c:v>390.00669625257063</c:v>
                </c:pt>
                <c:pt idx="6">
                  <c:v>453.08563083053622</c:v>
                </c:pt>
                <c:pt idx="7">
                  <c:v>542.52591120227839</c:v>
                </c:pt>
                <c:pt idx="8">
                  <c:v>567.12198830450745</c:v>
                </c:pt>
                <c:pt idx="9">
                  <c:v>498.5118784930263</c:v>
                </c:pt>
                <c:pt idx="10">
                  <c:v>447.31908643814756</c:v>
                </c:pt>
                <c:pt idx="11">
                  <c:v>346.81645559937408</c:v>
                </c:pt>
                <c:pt idx="12">
                  <c:v>257.02312148932236</c:v>
                </c:pt>
                <c:pt idx="13">
                  <c:v>185.35321261249209</c:v>
                </c:pt>
                <c:pt idx="14">
                  <c:v>147.45877803393813</c:v>
                </c:pt>
                <c:pt idx="15">
                  <c:v>99.79652336215446</c:v>
                </c:pt>
                <c:pt idx="16">
                  <c:v>81.9084672878060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3.1 - 9.1</c:v>
                </c:pt>
                <c:pt idx="1">
                  <c:v>10.1 - 16.1</c:v>
                </c:pt>
                <c:pt idx="2">
                  <c:v>17.1 - 23.1</c:v>
                </c:pt>
                <c:pt idx="3">
                  <c:v>24.1 - 30.1</c:v>
                </c:pt>
                <c:pt idx="4">
                  <c:v>31.1 - 6.2</c:v>
                </c:pt>
                <c:pt idx="5">
                  <c:v>7.2 - 13.2</c:v>
                </c:pt>
                <c:pt idx="6">
                  <c:v>14.2 - 20.2</c:v>
                </c:pt>
                <c:pt idx="7">
                  <c:v>21.2 - 27.2</c:v>
                </c:pt>
                <c:pt idx="8">
                  <c:v>28.2 - 6.3</c:v>
                </c:pt>
                <c:pt idx="9">
                  <c:v>7.3 - 13.3</c:v>
                </c:pt>
                <c:pt idx="10">
                  <c:v>14.3 - 20.3</c:v>
                </c:pt>
                <c:pt idx="11">
                  <c:v>21.3 - 27.3</c:v>
                </c:pt>
                <c:pt idx="12">
                  <c:v>28.3 - 3.4</c:v>
                </c:pt>
                <c:pt idx="13">
                  <c:v>4.4 - 10.4</c:v>
                </c:pt>
                <c:pt idx="14">
                  <c:v>11.4 - 17.4</c:v>
                </c:pt>
                <c:pt idx="15">
                  <c:v>18.4 - 24.4</c:v>
                </c:pt>
                <c:pt idx="16">
                  <c:v>25.4 - 1.5</c:v>
                </c:pt>
              </c:strCache>
            </c:strRef>
          </c:cat>
          <c:val>
            <c:numRef>
              <c:f>List1!$B$7:$R$7</c:f>
              <c:numCache>
                <c:formatCode>General</c:formatCode>
                <c:ptCount val="17"/>
                <c:pt idx="0">
                  <c:v>849.11649486686451</c:v>
                </c:pt>
                <c:pt idx="1">
                  <c:v>542.84955244274715</c:v>
                </c:pt>
                <c:pt idx="2">
                  <c:v>452.2655309703967</c:v>
                </c:pt>
                <c:pt idx="3">
                  <c:v>441.12838122604143</c:v>
                </c:pt>
                <c:pt idx="4">
                  <c:v>468.94787785866686</c:v>
                </c:pt>
                <c:pt idx="5">
                  <c:v>495.93512736513981</c:v>
                </c:pt>
                <c:pt idx="6">
                  <c:v>608.68123523053987</c:v>
                </c:pt>
                <c:pt idx="7">
                  <c:v>769.49195240407266</c:v>
                </c:pt>
                <c:pt idx="8">
                  <c:v>802.95015709366385</c:v>
                </c:pt>
                <c:pt idx="9">
                  <c:v>726.38342148763456</c:v>
                </c:pt>
                <c:pt idx="10">
                  <c:v>615.6665004354378</c:v>
                </c:pt>
                <c:pt idx="11">
                  <c:v>467.95666218032795</c:v>
                </c:pt>
                <c:pt idx="12">
                  <c:v>344.17626657492855</c:v>
                </c:pt>
                <c:pt idx="13">
                  <c:v>264.41145774256046</c:v>
                </c:pt>
                <c:pt idx="14">
                  <c:v>202.3576158420218</c:v>
                </c:pt>
                <c:pt idx="15">
                  <c:v>163.40096946504107</c:v>
                </c:pt>
                <c:pt idx="16">
                  <c:v>137.404935636907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EBB-4442-9D6E-7DAB86DA9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D9B4-4B82-8A69-E8EE655F407B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arlovarský kraj</c:v>
                </c:pt>
                <c:pt idx="1">
                  <c:v>Královéhradecký kraj</c:v>
                </c:pt>
                <c:pt idx="2">
                  <c:v>Kraj Vysočina</c:v>
                </c:pt>
                <c:pt idx="3">
                  <c:v>Ústecký kraj</c:v>
                </c:pt>
                <c:pt idx="4">
                  <c:v>Hlavní město Praha</c:v>
                </c:pt>
                <c:pt idx="5">
                  <c:v>Jihomoravský kraj</c:v>
                </c:pt>
                <c:pt idx="6">
                  <c:v>Jihočeský kraj</c:v>
                </c:pt>
                <c:pt idx="7">
                  <c:v>Moravskoslezský kraj</c:v>
                </c:pt>
                <c:pt idx="8">
                  <c:v>Plzeňský kraj</c:v>
                </c:pt>
                <c:pt idx="9">
                  <c:v>ČR</c:v>
                </c:pt>
                <c:pt idx="10">
                  <c:v>Zlínský kraj</c:v>
                </c:pt>
                <c:pt idx="11">
                  <c:v>Středočeský kraj</c:v>
                </c:pt>
                <c:pt idx="12">
                  <c:v>Olomoucký kraj</c:v>
                </c:pt>
                <c:pt idx="13">
                  <c:v>Liberecký kraj</c:v>
                </c:pt>
                <c:pt idx="14">
                  <c:v>Pardubi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1.319327731092</c:v>
                </c:pt>
                <c:pt idx="1">
                  <c:v>0.99367088607499998</c:v>
                </c:pt>
                <c:pt idx="2">
                  <c:v>0.98080808080799997</c:v>
                </c:pt>
                <c:pt idx="3">
                  <c:v>0.95478036175699998</c:v>
                </c:pt>
                <c:pt idx="4">
                  <c:v>0.90962288686600001</c:v>
                </c:pt>
                <c:pt idx="5">
                  <c:v>0.90796915167000003</c:v>
                </c:pt>
                <c:pt idx="6">
                  <c:v>0.89814814814800004</c:v>
                </c:pt>
                <c:pt idx="7">
                  <c:v>0.89275893675499995</c:v>
                </c:pt>
                <c:pt idx="8">
                  <c:v>0.88352745424199997</c:v>
                </c:pt>
                <c:pt idx="9">
                  <c:v>0.87968394588700005</c:v>
                </c:pt>
                <c:pt idx="10">
                  <c:v>0.83722481654400005</c:v>
                </c:pt>
                <c:pt idx="11">
                  <c:v>0.82276507276499999</c:v>
                </c:pt>
                <c:pt idx="12">
                  <c:v>0.79804560260500002</c:v>
                </c:pt>
                <c:pt idx="13">
                  <c:v>0.77611940298500004</c:v>
                </c:pt>
                <c:pt idx="14">
                  <c:v>0.710858585857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.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Ústecký kraj</c:v>
                </c:pt>
                <c:pt idx="3">
                  <c:v>Moravskoslezský kraj</c:v>
                </c:pt>
                <c:pt idx="4">
                  <c:v>Olomoucký kraj</c:v>
                </c:pt>
                <c:pt idx="5">
                  <c:v>Jihomoravský kraj</c:v>
                </c:pt>
                <c:pt idx="6">
                  <c:v>Kraj Vysočina</c:v>
                </c:pt>
                <c:pt idx="7">
                  <c:v>ČR</c:v>
                </c:pt>
                <c:pt idx="8">
                  <c:v>Středočeský kraj</c:v>
                </c:pt>
                <c:pt idx="9">
                  <c:v>Liberecký kraj</c:v>
                </c:pt>
                <c:pt idx="10">
                  <c:v>Pardubický kraj</c:v>
                </c:pt>
                <c:pt idx="11">
                  <c:v>Hlavní město Praha</c:v>
                </c:pt>
                <c:pt idx="12">
                  <c:v>Plzeň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240.32065641870699</c:v>
                </c:pt>
                <c:pt idx="1">
                  <c:v>313.31365678025901</c:v>
                </c:pt>
                <c:pt idx="2">
                  <c:v>337.529614538987</c:v>
                </c:pt>
                <c:pt idx="3">
                  <c:v>230.64640132473801</c:v>
                </c:pt>
                <c:pt idx="4">
                  <c:v>239.39305238008501</c:v>
                </c:pt>
                <c:pt idx="5">
                  <c:v>238.592805806093</c:v>
                </c:pt>
                <c:pt idx="6">
                  <c:v>206.35017153348301</c:v>
                </c:pt>
                <c:pt idx="7">
                  <c:v>234.65628520978001</c:v>
                </c:pt>
                <c:pt idx="8">
                  <c:v>244.740427147849</c:v>
                </c:pt>
                <c:pt idx="9">
                  <c:v>276.31905159007403</c:v>
                </c:pt>
                <c:pt idx="10">
                  <c:v>264.60695439882699</c:v>
                </c:pt>
                <c:pt idx="11">
                  <c:v>181.23096602901001</c:v>
                </c:pt>
                <c:pt idx="12">
                  <c:v>209.69691421751801</c:v>
                </c:pt>
                <c:pt idx="13">
                  <c:v>139.21946462139701</c:v>
                </c:pt>
                <c:pt idx="14">
                  <c:v>99.435289007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FD-4C6E-9F7A-BB34FB4B8147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13.4.</c:v>
                </c:pt>
              </c:strCache>
            </c:strRef>
          </c:tx>
          <c:spPr>
            <a:solidFill>
              <a:srgbClr val="4010B7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Ústecký kraj</c:v>
                </c:pt>
                <c:pt idx="3">
                  <c:v>Moravskoslezský kraj</c:v>
                </c:pt>
                <c:pt idx="4">
                  <c:v>Olomoucký kraj</c:v>
                </c:pt>
                <c:pt idx="5">
                  <c:v>Jihomoravský kraj</c:v>
                </c:pt>
                <c:pt idx="6">
                  <c:v>Kraj Vysočina</c:v>
                </c:pt>
                <c:pt idx="7">
                  <c:v>ČR</c:v>
                </c:pt>
                <c:pt idx="8">
                  <c:v>Středočeský kraj</c:v>
                </c:pt>
                <c:pt idx="9">
                  <c:v>Liberecký kraj</c:v>
                </c:pt>
                <c:pt idx="10">
                  <c:v>Pardubický kraj</c:v>
                </c:pt>
                <c:pt idx="11">
                  <c:v>Hlavní město Praha</c:v>
                </c:pt>
                <c:pt idx="12">
                  <c:v>Plzeň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212.855438542283</c:v>
                </c:pt>
                <c:pt idx="1">
                  <c:v>200.75052438893701</c:v>
                </c:pt>
                <c:pt idx="2">
                  <c:v>201.10479740305601</c:v>
                </c:pt>
                <c:pt idx="3">
                  <c:v>176.087573998012</c:v>
                </c:pt>
                <c:pt idx="4">
                  <c:v>202.36861466895499</c:v>
                </c:pt>
                <c:pt idx="5">
                  <c:v>156.37728200511901</c:v>
                </c:pt>
                <c:pt idx="6">
                  <c:v>156.72413218179901</c:v>
                </c:pt>
                <c:pt idx="7">
                  <c:v>153.086715755532</c:v>
                </c:pt>
                <c:pt idx="8">
                  <c:v>133.199436014095</c:v>
                </c:pt>
                <c:pt idx="9">
                  <c:v>155.513984989519</c:v>
                </c:pt>
                <c:pt idx="10">
                  <c:v>186.16237644978901</c:v>
                </c:pt>
                <c:pt idx="11">
                  <c:v>112.061147327938</c:v>
                </c:pt>
                <c:pt idx="12">
                  <c:v>101.712327025473</c:v>
                </c:pt>
                <c:pt idx="13">
                  <c:v>60.002139049065001</c:v>
                </c:pt>
                <c:pt idx="14">
                  <c:v>64.140851953411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CFD-4C6E-9F7A-BB34FB4B8147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01.05.2021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Ústecký kraj</c:v>
                </c:pt>
                <c:pt idx="3">
                  <c:v>Moravskoslezský kraj</c:v>
                </c:pt>
                <c:pt idx="4">
                  <c:v>Olomoucký kraj</c:v>
                </c:pt>
                <c:pt idx="5">
                  <c:v>Jihomoravský kraj</c:v>
                </c:pt>
                <c:pt idx="6">
                  <c:v>Kraj Vysočina</c:v>
                </c:pt>
                <c:pt idx="7">
                  <c:v>ČR</c:v>
                </c:pt>
                <c:pt idx="8">
                  <c:v>Středočeský kraj</c:v>
                </c:pt>
                <c:pt idx="9">
                  <c:v>Liberecký kraj</c:v>
                </c:pt>
                <c:pt idx="10">
                  <c:v>Pardubický kraj</c:v>
                </c:pt>
                <c:pt idx="11">
                  <c:v>Hlavní město Praha</c:v>
                </c:pt>
                <c:pt idx="12">
                  <c:v>Plzeň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121.190273879719</c:v>
                </c:pt>
                <c:pt idx="1">
                  <c:v>104.80015774364399</c:v>
                </c:pt>
                <c:pt idx="2">
                  <c:v>97.446297954236002</c:v>
                </c:pt>
                <c:pt idx="3">
                  <c:v>88.876746194833999</c:v>
                </c:pt>
                <c:pt idx="4">
                  <c:v>84.966337824259995</c:v>
                </c:pt>
                <c:pt idx="5">
                  <c:v>83.306137892212007</c:v>
                </c:pt>
                <c:pt idx="6">
                  <c:v>78.852441973821001</c:v>
                </c:pt>
                <c:pt idx="7">
                  <c:v>72.461606523095995</c:v>
                </c:pt>
                <c:pt idx="8">
                  <c:v>61.293399011364002</c:v>
                </c:pt>
                <c:pt idx="9">
                  <c:v>60.627915887218002</c:v>
                </c:pt>
                <c:pt idx="10">
                  <c:v>56.250502236627</c:v>
                </c:pt>
                <c:pt idx="11">
                  <c:v>51.650825318267998</c:v>
                </c:pt>
                <c:pt idx="12">
                  <c:v>42.888697895740997</c:v>
                </c:pt>
                <c:pt idx="13">
                  <c:v>26.647475650189001</c:v>
                </c:pt>
                <c:pt idx="14">
                  <c:v>22.05902315858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CFD-4C6E-9F7A-BB34FB4B81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01.05.2021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58E-4319-A6B1-3BB003D05972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Ústecký kraj</c:v>
                </c:pt>
                <c:pt idx="3">
                  <c:v>Moravskoslezský kraj</c:v>
                </c:pt>
                <c:pt idx="4">
                  <c:v>Olomoucký kraj</c:v>
                </c:pt>
                <c:pt idx="5">
                  <c:v>Jihomoravský kraj</c:v>
                </c:pt>
                <c:pt idx="6">
                  <c:v>Kraj Vysočina</c:v>
                </c:pt>
                <c:pt idx="7">
                  <c:v>ČR</c:v>
                </c:pt>
                <c:pt idx="8">
                  <c:v>Středočeský kraj</c:v>
                </c:pt>
                <c:pt idx="9">
                  <c:v>Liberecký kraj</c:v>
                </c:pt>
                <c:pt idx="10">
                  <c:v>Pardubický kraj</c:v>
                </c:pt>
                <c:pt idx="11">
                  <c:v>Hlavní město Praha</c:v>
                </c:pt>
                <c:pt idx="12">
                  <c:v>Plzeň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121.190273879719</c:v>
                </c:pt>
                <c:pt idx="1">
                  <c:v>104.80015774364399</c:v>
                </c:pt>
                <c:pt idx="2">
                  <c:v>97.446297954236002</c:v>
                </c:pt>
                <c:pt idx="3">
                  <c:v>88.876746194833999</c:v>
                </c:pt>
                <c:pt idx="4">
                  <c:v>84.966337824259995</c:v>
                </c:pt>
                <c:pt idx="5">
                  <c:v>83.306137892212007</c:v>
                </c:pt>
                <c:pt idx="6">
                  <c:v>78.852441973821001</c:v>
                </c:pt>
                <c:pt idx="7">
                  <c:v>72.461606523095995</c:v>
                </c:pt>
                <c:pt idx="8">
                  <c:v>61.293399011364002</c:v>
                </c:pt>
                <c:pt idx="9">
                  <c:v>60.627915887218002</c:v>
                </c:pt>
                <c:pt idx="10">
                  <c:v>56.250502236627</c:v>
                </c:pt>
                <c:pt idx="11">
                  <c:v>51.650825318267998</c:v>
                </c:pt>
                <c:pt idx="12">
                  <c:v>42.888697895740997</c:v>
                </c:pt>
                <c:pt idx="13">
                  <c:v>26.647475650189001</c:v>
                </c:pt>
                <c:pt idx="14">
                  <c:v>22.05902315858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58E-4319-A6B1-3BB003D059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vé případy za 7 dní na 100 000 obyvatel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944-47A1-8932-0F6118E2CB1A}"/>
              </c:ext>
            </c:extLst>
          </c:dPt>
          <c:dPt>
            <c:idx val="1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944-47A1-8932-0F6118E2CB1A}"/>
              </c:ext>
            </c:extLst>
          </c:dPt>
          <c:dPt>
            <c:idx val="2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5944-47A1-8932-0F6118E2CB1A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Zlín</c:v>
                </c:pt>
                <c:pt idx="1">
                  <c:v>Vsetín</c:v>
                </c:pt>
                <c:pt idx="2">
                  <c:v>České Budějovice</c:v>
                </c:pt>
                <c:pt idx="3">
                  <c:v>Prachatice</c:v>
                </c:pt>
                <c:pt idx="4">
                  <c:v>Žďár nad Sázavou</c:v>
                </c:pt>
                <c:pt idx="5">
                  <c:v>Ústí nad Labem</c:v>
                </c:pt>
                <c:pt idx="6">
                  <c:v>Jihlava</c:v>
                </c:pt>
                <c:pt idx="7">
                  <c:v>Most</c:v>
                </c:pt>
                <c:pt idx="8">
                  <c:v>Písek</c:v>
                </c:pt>
                <c:pt idx="9">
                  <c:v>Český Krumlov</c:v>
                </c:pt>
                <c:pt idx="10">
                  <c:v>Teplice</c:v>
                </c:pt>
                <c:pt idx="11">
                  <c:v>Znojmo</c:v>
                </c:pt>
                <c:pt idx="12">
                  <c:v>Beroun</c:v>
                </c:pt>
                <c:pt idx="13">
                  <c:v>Olomouc</c:v>
                </c:pt>
                <c:pt idx="14">
                  <c:v>Vyškov</c:v>
                </c:pt>
                <c:pt idx="15">
                  <c:v>Blansko</c:v>
                </c:pt>
                <c:pt idx="16">
                  <c:v>Louny</c:v>
                </c:pt>
                <c:pt idx="17">
                  <c:v>Ostrava-město</c:v>
                </c:pt>
                <c:pt idx="18">
                  <c:v>Nový Jičín</c:v>
                </c:pt>
                <c:pt idx="19">
                  <c:v>Hodonín</c:v>
                </c:pt>
              </c:strCache>
            </c:strRef>
          </c:cat>
          <c:val>
            <c:numRef>
              <c:f>Sheet1!$B$2:$B$21</c:f>
              <c:numCache>
                <c:formatCode>[$-10405]#\ ##0.0;\(#\ ##0.0\)</c:formatCode>
                <c:ptCount val="20"/>
                <c:pt idx="0">
                  <c:v>265.58554045874803</c:v>
                </c:pt>
                <c:pt idx="1">
                  <c:v>261.62669010841802</c:v>
                </c:pt>
                <c:pt idx="2">
                  <c:v>236.34145469951901</c:v>
                </c:pt>
                <c:pt idx="3">
                  <c:v>225.58750833692901</c:v>
                </c:pt>
                <c:pt idx="4">
                  <c:v>223.429645051541</c:v>
                </c:pt>
                <c:pt idx="5">
                  <c:v>217.03061891434399</c:v>
                </c:pt>
                <c:pt idx="6">
                  <c:v>215.61586932798201</c:v>
                </c:pt>
                <c:pt idx="7">
                  <c:v>209.474701901385</c:v>
                </c:pt>
                <c:pt idx="8">
                  <c:v>203.94764412532999</c:v>
                </c:pt>
                <c:pt idx="9">
                  <c:v>199.818051855221</c:v>
                </c:pt>
                <c:pt idx="10">
                  <c:v>199.113672988719</c:v>
                </c:pt>
                <c:pt idx="11">
                  <c:v>197.63709980673499</c:v>
                </c:pt>
                <c:pt idx="12">
                  <c:v>187.25409749836899</c:v>
                </c:pt>
                <c:pt idx="13">
                  <c:v>186.009376911055</c:v>
                </c:pt>
                <c:pt idx="14">
                  <c:v>177.719982661465</c:v>
                </c:pt>
                <c:pt idx="15">
                  <c:v>176.84357132385199</c:v>
                </c:pt>
                <c:pt idx="16">
                  <c:v>176.488908883275</c:v>
                </c:pt>
                <c:pt idx="17">
                  <c:v>176.48253135298</c:v>
                </c:pt>
                <c:pt idx="18">
                  <c:v>174.16890425328299</c:v>
                </c:pt>
                <c:pt idx="19">
                  <c:v>174.090410086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[$-10405]#\ ##0.0;\(#\ ##0.0\)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7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Žďár nad Sázavou</c:v>
                </c:pt>
                <c:pt idx="1">
                  <c:v>Český Krumlov</c:v>
                </c:pt>
                <c:pt idx="2">
                  <c:v>Ústí nad Labem</c:v>
                </c:pt>
                <c:pt idx="3">
                  <c:v>Hodonín</c:v>
                </c:pt>
                <c:pt idx="4">
                  <c:v>Most</c:v>
                </c:pt>
                <c:pt idx="5">
                  <c:v>České Budějovice</c:v>
                </c:pt>
                <c:pt idx="6">
                  <c:v>Znojmo</c:v>
                </c:pt>
                <c:pt idx="7">
                  <c:v>Louny</c:v>
                </c:pt>
                <c:pt idx="8">
                  <c:v>Nový Jičín</c:v>
                </c:pt>
                <c:pt idx="9">
                  <c:v>Olomouc</c:v>
                </c:pt>
                <c:pt idx="10">
                  <c:v>Beroun</c:v>
                </c:pt>
                <c:pt idx="11">
                  <c:v>Jihlava</c:v>
                </c:pt>
                <c:pt idx="12">
                  <c:v>Vyškov</c:v>
                </c:pt>
                <c:pt idx="13">
                  <c:v>Zlín</c:v>
                </c:pt>
                <c:pt idx="14">
                  <c:v>Písek</c:v>
                </c:pt>
                <c:pt idx="15">
                  <c:v>Vsetín</c:v>
                </c:pt>
                <c:pt idx="16">
                  <c:v>Ostrava-město</c:v>
                </c:pt>
                <c:pt idx="17">
                  <c:v>Teplice</c:v>
                </c:pt>
                <c:pt idx="18">
                  <c:v>Blansko</c:v>
                </c:pt>
                <c:pt idx="19">
                  <c:v>Prachatice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14.387515022259009</c:v>
                </c:pt>
                <c:pt idx="1">
                  <c:v>12.996296055623986</c:v>
                </c:pt>
                <c:pt idx="2">
                  <c:v>10.055472691012</c:v>
                </c:pt>
                <c:pt idx="3">
                  <c:v>7.1455019065500096</c:v>
                </c:pt>
                <c:pt idx="4">
                  <c:v>-1.7903820675329882</c:v>
                </c:pt>
                <c:pt idx="5">
                  <c:v>-7.6568505842180059</c:v>
                </c:pt>
                <c:pt idx="6">
                  <c:v>-10.494005299473002</c:v>
                </c:pt>
                <c:pt idx="7">
                  <c:v>-12.688745083111002</c:v>
                </c:pt>
                <c:pt idx="8">
                  <c:v>-21.111382333732024</c:v>
                </c:pt>
                <c:pt idx="9">
                  <c:v>-29.302847047632014</c:v>
                </c:pt>
                <c:pt idx="10">
                  <c:v>-30.507690041869012</c:v>
                </c:pt>
                <c:pt idx="11">
                  <c:v>-35.202590910690986</c:v>
                </c:pt>
                <c:pt idx="12">
                  <c:v>-36.844386649328015</c:v>
                </c:pt>
                <c:pt idx="13">
                  <c:v>-45.916557093064</c:v>
                </c:pt>
                <c:pt idx="14">
                  <c:v>-48.891558523195016</c:v>
                </c:pt>
                <c:pt idx="15">
                  <c:v>-53.023009195305974</c:v>
                </c:pt>
                <c:pt idx="16">
                  <c:v>-54.038014024895006</c:v>
                </c:pt>
                <c:pt idx="17">
                  <c:v>-57.332341638774977</c:v>
                </c:pt>
                <c:pt idx="18">
                  <c:v>-64.140155402434004</c:v>
                </c:pt>
                <c:pt idx="19">
                  <c:v>-94.158264349326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52A-4CFB-8526-F358736048E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Žďár nad Sázavou</c:v>
                </c:pt>
                <c:pt idx="1">
                  <c:v>Český Krumlov</c:v>
                </c:pt>
                <c:pt idx="2">
                  <c:v>Ústí nad Labem</c:v>
                </c:pt>
                <c:pt idx="3">
                  <c:v>Hodonín</c:v>
                </c:pt>
                <c:pt idx="4">
                  <c:v>Most</c:v>
                </c:pt>
                <c:pt idx="5">
                  <c:v>České Budějovice</c:v>
                </c:pt>
                <c:pt idx="6">
                  <c:v>Znojmo</c:v>
                </c:pt>
                <c:pt idx="7">
                  <c:v>Louny</c:v>
                </c:pt>
                <c:pt idx="8">
                  <c:v>Nový Jičín</c:v>
                </c:pt>
                <c:pt idx="9">
                  <c:v>Olomouc</c:v>
                </c:pt>
                <c:pt idx="10">
                  <c:v>Beroun</c:v>
                </c:pt>
                <c:pt idx="11">
                  <c:v>Jihlava</c:v>
                </c:pt>
                <c:pt idx="12">
                  <c:v>Vyškov</c:v>
                </c:pt>
                <c:pt idx="13">
                  <c:v>Zlín</c:v>
                </c:pt>
                <c:pt idx="14">
                  <c:v>Písek</c:v>
                </c:pt>
                <c:pt idx="15">
                  <c:v>Vsetín</c:v>
                </c:pt>
                <c:pt idx="16">
                  <c:v>Ostrava-město</c:v>
                </c:pt>
                <c:pt idx="17">
                  <c:v>Teplice</c:v>
                </c:pt>
                <c:pt idx="18">
                  <c:v>Blansko</c:v>
                </c:pt>
                <c:pt idx="19">
                  <c:v>Prachatice</c:v>
                </c:pt>
              </c:strCache>
            </c:strRef>
          </c:cat>
          <c:val>
            <c:numRef>
              <c:f>Sheet1!$C$2:$C$21</c:f>
              <c:numCache>
                <c:formatCode>General</c:formatCode>
                <c:ptCount val="20"/>
                <c:pt idx="0">
                  <c:v>0</c:v>
                </c:pt>
                <c:pt idx="4">
                  <c:v>-1.7903820675329882</c:v>
                </c:pt>
                <c:pt idx="5">
                  <c:v>-7.6568505842180059</c:v>
                </c:pt>
                <c:pt idx="6">
                  <c:v>-10.494005299473002</c:v>
                </c:pt>
                <c:pt idx="7">
                  <c:v>-12.688745083111002</c:v>
                </c:pt>
                <c:pt idx="8">
                  <c:v>-21.111382333732024</c:v>
                </c:pt>
                <c:pt idx="9">
                  <c:v>-29.302847047632014</c:v>
                </c:pt>
                <c:pt idx="10">
                  <c:v>-30.507690041869012</c:v>
                </c:pt>
                <c:pt idx="11">
                  <c:v>-35.202590910690986</c:v>
                </c:pt>
                <c:pt idx="12">
                  <c:v>-36.844386649328015</c:v>
                </c:pt>
                <c:pt idx="13">
                  <c:v>-45.916557093064</c:v>
                </c:pt>
                <c:pt idx="14">
                  <c:v>-48.891558523195016</c:v>
                </c:pt>
                <c:pt idx="15">
                  <c:v>-53.023009195305974</c:v>
                </c:pt>
                <c:pt idx="16">
                  <c:v>-54.038014024895006</c:v>
                </c:pt>
                <c:pt idx="17">
                  <c:v>-57.332341638774977</c:v>
                </c:pt>
                <c:pt idx="18">
                  <c:v>-64.140155402434004</c:v>
                </c:pt>
                <c:pt idx="19">
                  <c:v>-94.158264349326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52A-4CFB-8526-F358736048E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Žďár nad Sázavou</c:v>
                </c:pt>
                <c:pt idx="1">
                  <c:v>Český Krumlov</c:v>
                </c:pt>
                <c:pt idx="2">
                  <c:v>Ústí nad Labem</c:v>
                </c:pt>
                <c:pt idx="3">
                  <c:v>Hodonín</c:v>
                </c:pt>
                <c:pt idx="4">
                  <c:v>Most</c:v>
                </c:pt>
                <c:pt idx="5">
                  <c:v>České Budějovice</c:v>
                </c:pt>
                <c:pt idx="6">
                  <c:v>Znojmo</c:v>
                </c:pt>
                <c:pt idx="7">
                  <c:v>Louny</c:v>
                </c:pt>
                <c:pt idx="8">
                  <c:v>Nový Jičín</c:v>
                </c:pt>
                <c:pt idx="9">
                  <c:v>Olomouc</c:v>
                </c:pt>
                <c:pt idx="10">
                  <c:v>Beroun</c:v>
                </c:pt>
                <c:pt idx="11">
                  <c:v>Jihlava</c:v>
                </c:pt>
                <c:pt idx="12">
                  <c:v>Vyškov</c:v>
                </c:pt>
                <c:pt idx="13">
                  <c:v>Zlín</c:v>
                </c:pt>
                <c:pt idx="14">
                  <c:v>Písek</c:v>
                </c:pt>
                <c:pt idx="15">
                  <c:v>Vsetín</c:v>
                </c:pt>
                <c:pt idx="16">
                  <c:v>Ostrava-město</c:v>
                </c:pt>
                <c:pt idx="17">
                  <c:v>Teplice</c:v>
                </c:pt>
                <c:pt idx="18">
                  <c:v>Blansko</c:v>
                </c:pt>
                <c:pt idx="19">
                  <c:v>Prachatice</c:v>
                </c:pt>
              </c:strCache>
            </c:strRef>
          </c:cat>
          <c:val>
            <c:numRef>
              <c:f>Sheet1!$D$2:$D$21</c:f>
              <c:numCache>
                <c:formatCode>General</c:formatCode>
                <c:ptCount val="20"/>
                <c:pt idx="0">
                  <c:v>14.387515022259009</c:v>
                </c:pt>
                <c:pt idx="1">
                  <c:v>12.996296055623986</c:v>
                </c:pt>
                <c:pt idx="2">
                  <c:v>10.055472691012</c:v>
                </c:pt>
                <c:pt idx="3">
                  <c:v>7.1455019065500096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52A-4CFB-8526-F358736048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752350320"/>
        <c:axId val="742896224"/>
      </c:barChart>
      <c:catAx>
        <c:axId val="75235032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42896224"/>
        <c:crosses val="autoZero"/>
        <c:auto val="1"/>
        <c:lblAlgn val="ctr"/>
        <c:lblOffset val="100"/>
        <c:noMultiLvlLbl val="0"/>
      </c:catAx>
      <c:valAx>
        <c:axId val="742896224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523503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:$A$89</c:f>
              <c:numCache>
                <c:formatCode>m/d/yyyy</c:formatCode>
                <c:ptCount val="89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</c:numCache>
            </c:numRef>
          </c:cat>
          <c:val>
            <c:numRef>
              <c:f>Sheet1!$B$1:$B$89</c:f>
              <c:numCache>
                <c:formatCode>General</c:formatCode>
                <c:ptCount val="89"/>
                <c:pt idx="0">
                  <c:v>55035</c:v>
                </c:pt>
                <c:pt idx="1">
                  <c:v>33733</c:v>
                </c:pt>
                <c:pt idx="2">
                  <c:v>33065</c:v>
                </c:pt>
                <c:pt idx="3">
                  <c:v>33790</c:v>
                </c:pt>
                <c:pt idx="4">
                  <c:v>36441</c:v>
                </c:pt>
                <c:pt idx="5">
                  <c:v>17182</c:v>
                </c:pt>
                <c:pt idx="6">
                  <c:v>16727</c:v>
                </c:pt>
                <c:pt idx="7">
                  <c:v>55445</c:v>
                </c:pt>
                <c:pt idx="8">
                  <c:v>36849</c:v>
                </c:pt>
                <c:pt idx="9">
                  <c:v>35127</c:v>
                </c:pt>
                <c:pt idx="10">
                  <c:v>35412</c:v>
                </c:pt>
                <c:pt idx="11">
                  <c:v>40569</c:v>
                </c:pt>
                <c:pt idx="12">
                  <c:v>19473</c:v>
                </c:pt>
                <c:pt idx="13">
                  <c:v>20508</c:v>
                </c:pt>
                <c:pt idx="14">
                  <c:v>63462</c:v>
                </c:pt>
                <c:pt idx="15">
                  <c:v>44505</c:v>
                </c:pt>
                <c:pt idx="16">
                  <c:v>43202</c:v>
                </c:pt>
                <c:pt idx="17">
                  <c:v>44893</c:v>
                </c:pt>
                <c:pt idx="18">
                  <c:v>48907</c:v>
                </c:pt>
                <c:pt idx="19">
                  <c:v>21201</c:v>
                </c:pt>
                <c:pt idx="20">
                  <c:v>25389</c:v>
                </c:pt>
                <c:pt idx="21">
                  <c:v>74976</c:v>
                </c:pt>
                <c:pt idx="22">
                  <c:v>55981</c:v>
                </c:pt>
                <c:pt idx="23">
                  <c:v>56906</c:v>
                </c:pt>
                <c:pt idx="24">
                  <c:v>57222</c:v>
                </c:pt>
                <c:pt idx="25">
                  <c:v>60725</c:v>
                </c:pt>
                <c:pt idx="26">
                  <c:v>27232</c:v>
                </c:pt>
                <c:pt idx="27">
                  <c:v>28410</c:v>
                </c:pt>
                <c:pt idx="28">
                  <c:v>90989</c:v>
                </c:pt>
                <c:pt idx="29">
                  <c:v>70808</c:v>
                </c:pt>
                <c:pt idx="30">
                  <c:v>73645</c:v>
                </c:pt>
                <c:pt idx="31">
                  <c:v>87153</c:v>
                </c:pt>
                <c:pt idx="32">
                  <c:v>92295</c:v>
                </c:pt>
                <c:pt idx="33">
                  <c:v>35026</c:v>
                </c:pt>
                <c:pt idx="34">
                  <c:v>35385</c:v>
                </c:pt>
                <c:pt idx="35">
                  <c:v>165940</c:v>
                </c:pt>
                <c:pt idx="36">
                  <c:v>164247</c:v>
                </c:pt>
                <c:pt idx="37">
                  <c:v>166332</c:v>
                </c:pt>
                <c:pt idx="38">
                  <c:v>182854</c:v>
                </c:pt>
                <c:pt idx="39">
                  <c:v>154042</c:v>
                </c:pt>
                <c:pt idx="40">
                  <c:v>48623</c:v>
                </c:pt>
                <c:pt idx="41">
                  <c:v>51110</c:v>
                </c:pt>
                <c:pt idx="42">
                  <c:v>223307</c:v>
                </c:pt>
                <c:pt idx="43">
                  <c:v>190263</c:v>
                </c:pt>
                <c:pt idx="44">
                  <c:v>186113</c:v>
                </c:pt>
                <c:pt idx="45">
                  <c:v>183630</c:v>
                </c:pt>
                <c:pt idx="46">
                  <c:v>150702</c:v>
                </c:pt>
                <c:pt idx="47">
                  <c:v>47312</c:v>
                </c:pt>
                <c:pt idx="48">
                  <c:v>51133</c:v>
                </c:pt>
                <c:pt idx="49">
                  <c:v>241074</c:v>
                </c:pt>
                <c:pt idx="50">
                  <c:v>211857</c:v>
                </c:pt>
                <c:pt idx="51">
                  <c:v>199418</c:v>
                </c:pt>
                <c:pt idx="52">
                  <c:v>196530</c:v>
                </c:pt>
                <c:pt idx="53">
                  <c:v>152091</c:v>
                </c:pt>
                <c:pt idx="54">
                  <c:v>39339</c:v>
                </c:pt>
                <c:pt idx="55">
                  <c:v>44186</c:v>
                </c:pt>
                <c:pt idx="56">
                  <c:v>254691</c:v>
                </c:pt>
                <c:pt idx="57">
                  <c:v>211666</c:v>
                </c:pt>
                <c:pt idx="58">
                  <c:v>203931</c:v>
                </c:pt>
                <c:pt idx="59">
                  <c:v>232308</c:v>
                </c:pt>
                <c:pt idx="60">
                  <c:v>48970</c:v>
                </c:pt>
                <c:pt idx="61">
                  <c:v>34971</c:v>
                </c:pt>
                <c:pt idx="62">
                  <c:v>34886</c:v>
                </c:pt>
                <c:pt idx="63">
                  <c:v>52306</c:v>
                </c:pt>
                <c:pt idx="64">
                  <c:v>353048</c:v>
                </c:pt>
                <c:pt idx="65">
                  <c:v>236011</c:v>
                </c:pt>
                <c:pt idx="66">
                  <c:v>208934</c:v>
                </c:pt>
                <c:pt idx="67">
                  <c:v>147700</c:v>
                </c:pt>
                <c:pt idx="68">
                  <c:v>41181</c:v>
                </c:pt>
                <c:pt idx="69">
                  <c:v>52216</c:v>
                </c:pt>
                <c:pt idx="70">
                  <c:v>262999</c:v>
                </c:pt>
                <c:pt idx="71">
                  <c:v>231480</c:v>
                </c:pt>
                <c:pt idx="72">
                  <c:v>208038</c:v>
                </c:pt>
                <c:pt idx="73">
                  <c:v>204202</c:v>
                </c:pt>
                <c:pt idx="74">
                  <c:v>135744</c:v>
                </c:pt>
                <c:pt idx="75">
                  <c:v>39494</c:v>
                </c:pt>
                <c:pt idx="76">
                  <c:v>57365</c:v>
                </c:pt>
                <c:pt idx="77">
                  <c:v>262508</c:v>
                </c:pt>
                <c:pt idx="78">
                  <c:v>222114</c:v>
                </c:pt>
                <c:pt idx="79">
                  <c:v>200540</c:v>
                </c:pt>
                <c:pt idx="80">
                  <c:v>201231</c:v>
                </c:pt>
                <c:pt idx="81">
                  <c:v>137705</c:v>
                </c:pt>
                <c:pt idx="82">
                  <c:v>43110</c:v>
                </c:pt>
                <c:pt idx="83">
                  <c:v>52003</c:v>
                </c:pt>
                <c:pt idx="84">
                  <c:v>242914</c:v>
                </c:pt>
                <c:pt idx="85">
                  <c:v>205723</c:v>
                </c:pt>
                <c:pt idx="86">
                  <c:v>183503</c:v>
                </c:pt>
                <c:pt idx="87">
                  <c:v>176777</c:v>
                </c:pt>
                <c:pt idx="88">
                  <c:v>115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6A9-49A4-8C71-454A990991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</c:dateAx>
      <c:valAx>
        <c:axId val="41932182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:$A$89</c:f>
              <c:numCache>
                <c:formatCode>m/d/yyyy</c:formatCode>
                <c:ptCount val="89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</c:numCache>
            </c:numRef>
          </c:cat>
          <c:val>
            <c:numRef>
              <c:f>Sheet1!$B$1:$B$89</c:f>
              <c:numCache>
                <c:formatCode>General</c:formatCode>
                <c:ptCount val="89"/>
                <c:pt idx="0">
                  <c:v>27495</c:v>
                </c:pt>
                <c:pt idx="1">
                  <c:v>29984</c:v>
                </c:pt>
                <c:pt idx="2">
                  <c:v>31796</c:v>
                </c:pt>
                <c:pt idx="3">
                  <c:v>27744</c:v>
                </c:pt>
                <c:pt idx="4">
                  <c:v>31194</c:v>
                </c:pt>
                <c:pt idx="5">
                  <c:v>14899</c:v>
                </c:pt>
                <c:pt idx="6">
                  <c:v>7819</c:v>
                </c:pt>
                <c:pt idx="7">
                  <c:v>25605</c:v>
                </c:pt>
                <c:pt idx="8">
                  <c:v>31375</c:v>
                </c:pt>
                <c:pt idx="9">
                  <c:v>29928</c:v>
                </c:pt>
                <c:pt idx="10">
                  <c:v>28230</c:v>
                </c:pt>
                <c:pt idx="11">
                  <c:v>31058</c:v>
                </c:pt>
                <c:pt idx="12">
                  <c:v>16458</c:v>
                </c:pt>
                <c:pt idx="13">
                  <c:v>8388</c:v>
                </c:pt>
                <c:pt idx="14">
                  <c:v>29117</c:v>
                </c:pt>
                <c:pt idx="15">
                  <c:v>34541</c:v>
                </c:pt>
                <c:pt idx="16">
                  <c:v>32781</c:v>
                </c:pt>
                <c:pt idx="17">
                  <c:v>34073</c:v>
                </c:pt>
                <c:pt idx="18">
                  <c:v>37505</c:v>
                </c:pt>
                <c:pt idx="19">
                  <c:v>18806</c:v>
                </c:pt>
                <c:pt idx="20">
                  <c:v>9572</c:v>
                </c:pt>
                <c:pt idx="21">
                  <c:v>33899</c:v>
                </c:pt>
                <c:pt idx="22">
                  <c:v>40914</c:v>
                </c:pt>
                <c:pt idx="23">
                  <c:v>40169</c:v>
                </c:pt>
                <c:pt idx="24">
                  <c:v>39765</c:v>
                </c:pt>
                <c:pt idx="25">
                  <c:v>41855</c:v>
                </c:pt>
                <c:pt idx="26">
                  <c:v>23065</c:v>
                </c:pt>
                <c:pt idx="27">
                  <c:v>11706</c:v>
                </c:pt>
                <c:pt idx="28">
                  <c:v>35103</c:v>
                </c:pt>
                <c:pt idx="29">
                  <c:v>44561</c:v>
                </c:pt>
                <c:pt idx="30">
                  <c:v>41146</c:v>
                </c:pt>
                <c:pt idx="31">
                  <c:v>39854</c:v>
                </c:pt>
                <c:pt idx="32">
                  <c:v>42795</c:v>
                </c:pt>
                <c:pt idx="33">
                  <c:v>22005</c:v>
                </c:pt>
                <c:pt idx="34">
                  <c:v>11096</c:v>
                </c:pt>
                <c:pt idx="35">
                  <c:v>32804</c:v>
                </c:pt>
                <c:pt idx="36">
                  <c:v>39767</c:v>
                </c:pt>
                <c:pt idx="37">
                  <c:v>40974</c:v>
                </c:pt>
                <c:pt idx="38">
                  <c:v>35277</c:v>
                </c:pt>
                <c:pt idx="39">
                  <c:v>39756</c:v>
                </c:pt>
                <c:pt idx="40">
                  <c:v>17575</c:v>
                </c:pt>
                <c:pt idx="41">
                  <c:v>8271</c:v>
                </c:pt>
                <c:pt idx="42">
                  <c:v>33473</c:v>
                </c:pt>
                <c:pt idx="43">
                  <c:v>37363</c:v>
                </c:pt>
                <c:pt idx="44">
                  <c:v>34331</c:v>
                </c:pt>
                <c:pt idx="45">
                  <c:v>30842</c:v>
                </c:pt>
                <c:pt idx="46">
                  <c:v>32085</c:v>
                </c:pt>
                <c:pt idx="47">
                  <c:v>17104</c:v>
                </c:pt>
                <c:pt idx="48">
                  <c:v>7951</c:v>
                </c:pt>
                <c:pt idx="49">
                  <c:v>29594</c:v>
                </c:pt>
                <c:pt idx="50">
                  <c:v>33537</c:v>
                </c:pt>
                <c:pt idx="51">
                  <c:v>28209</c:v>
                </c:pt>
                <c:pt idx="52">
                  <c:v>27649</c:v>
                </c:pt>
                <c:pt idx="53">
                  <c:v>27101</c:v>
                </c:pt>
                <c:pt idx="54">
                  <c:v>12613</c:v>
                </c:pt>
                <c:pt idx="55">
                  <c:v>6308</c:v>
                </c:pt>
                <c:pt idx="56">
                  <c:v>26996</c:v>
                </c:pt>
                <c:pt idx="57">
                  <c:v>28964</c:v>
                </c:pt>
                <c:pt idx="58">
                  <c:v>26001</c:v>
                </c:pt>
                <c:pt idx="59">
                  <c:v>24831</c:v>
                </c:pt>
                <c:pt idx="60">
                  <c:v>14626</c:v>
                </c:pt>
                <c:pt idx="61">
                  <c:v>8373</c:v>
                </c:pt>
                <c:pt idx="62">
                  <c:v>7095</c:v>
                </c:pt>
                <c:pt idx="63">
                  <c:v>7596</c:v>
                </c:pt>
                <c:pt idx="64">
                  <c:v>25682</c:v>
                </c:pt>
                <c:pt idx="65">
                  <c:v>27789</c:v>
                </c:pt>
                <c:pt idx="66">
                  <c:v>22339</c:v>
                </c:pt>
                <c:pt idx="67">
                  <c:v>22710</c:v>
                </c:pt>
                <c:pt idx="68">
                  <c:v>11120</c:v>
                </c:pt>
                <c:pt idx="69">
                  <c:v>5860</c:v>
                </c:pt>
                <c:pt idx="70">
                  <c:v>21491</c:v>
                </c:pt>
                <c:pt idx="71">
                  <c:v>24169</c:v>
                </c:pt>
                <c:pt idx="72">
                  <c:v>20994</c:v>
                </c:pt>
                <c:pt idx="73">
                  <c:v>17482</c:v>
                </c:pt>
                <c:pt idx="74">
                  <c:v>19185</c:v>
                </c:pt>
                <c:pt idx="75">
                  <c:v>9756</c:v>
                </c:pt>
                <c:pt idx="76">
                  <c:v>6188</c:v>
                </c:pt>
                <c:pt idx="77">
                  <c:v>21597</c:v>
                </c:pt>
                <c:pt idx="78">
                  <c:v>22293</c:v>
                </c:pt>
                <c:pt idx="79">
                  <c:v>19216</c:v>
                </c:pt>
                <c:pt idx="80">
                  <c:v>18156</c:v>
                </c:pt>
                <c:pt idx="81">
                  <c:v>18040</c:v>
                </c:pt>
                <c:pt idx="82">
                  <c:v>9165</c:v>
                </c:pt>
                <c:pt idx="83">
                  <c:v>5399</c:v>
                </c:pt>
                <c:pt idx="84">
                  <c:v>20552</c:v>
                </c:pt>
                <c:pt idx="85">
                  <c:v>19878</c:v>
                </c:pt>
                <c:pt idx="86">
                  <c:v>19412</c:v>
                </c:pt>
                <c:pt idx="87">
                  <c:v>18424</c:v>
                </c:pt>
                <c:pt idx="88">
                  <c:v>181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6A9-49A4-8C71-454A990991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</c:dateAx>
      <c:valAx>
        <c:axId val="41932182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3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160647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36848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61754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833654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80011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69096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3584CE-9EBC-AD46-8819-745BF0C92CFB}" type="slidenum">
              <a:rPr kumimoji="0" lang="en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37370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84881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01139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48631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40011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43832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1561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55072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32108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8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6.svg"/><Relationship Id="rId5" Type="http://schemas.openxmlformats.org/officeDocument/2006/relationships/image" Target="../media/image11.png"/><Relationship Id="rId4" Type="http://schemas.openxmlformats.org/officeDocument/2006/relationships/image" Target="../media/image8.sv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9.png"/><Relationship Id="rId5" Type="http://schemas.openxmlformats.org/officeDocument/2006/relationships/image" Target="../media/image6.svg"/><Relationship Id="rId4" Type="http://schemas.openxmlformats.org/officeDocument/2006/relationships/image" Target="../media/image7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9.png"/><Relationship Id="rId5" Type="http://schemas.openxmlformats.org/officeDocument/2006/relationships/image" Target="../media/image6.svg"/><Relationship Id="rId4" Type="http://schemas.openxmlformats.org/officeDocument/2006/relationships/image" Target="../media/image7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9.png"/><Relationship Id="rId5" Type="http://schemas.openxmlformats.org/officeDocument/2006/relationships/image" Target="../media/image6.svg"/><Relationship Id="rId4" Type="http://schemas.openxmlformats.org/officeDocument/2006/relationships/image" Target="../media/image7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8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0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5381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77719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A61EBA-4FFF-4673-9BA0-55E82F99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FDA1FA-15B4-46DB-8563-9D168899E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0E34FA4-860E-40B4-97AD-3CF9B2CE9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889F8-1CC5-41C1-BAF5-5D6BD0F6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A22AC9-06BD-4427-B62E-52F6A58CB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451909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30E577-8B32-4569-AC3C-76D6F2F6B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410C648-E034-410B-B01B-87701C835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5F7769-50EF-4D0F-97C4-6A5E9227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B6DB6D5-8367-4F80-AF41-87D069C8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F10414-C935-472D-B8FC-16EBD0EE0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892388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CBB21-C0F1-4B2B-8A1C-15DD2EBAB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818461-3C43-44FE-80B9-D048BFA8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07805A-C211-4BDC-8A7C-50C017CD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CF91BA1-1C1F-4294-9B84-82D31143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89D46F-E6FD-4433-AE57-F03CFCFF8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391055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751BB3-54BB-497C-9D87-7331E6365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69F060A-A852-4CAC-8567-9FF26BE2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A874AFF-9D96-448C-A700-2FC369C17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EB687C-F962-4BE7-8278-3C31FC255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8620F06-EBA0-40CC-9A9C-15001C53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FDE4CA-77DD-417D-8C54-07ECB9628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912582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F8E94-026C-4341-B09E-E0FB30A2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70218-0D2B-45AF-8CEE-4DF7A0BA9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FFD3F4B-DA25-4423-9234-6270FB4E0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E2AC16-B4BF-4A45-92DD-CD16581B2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000A558-D06F-4CAD-88FC-71F13523F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18A76E9-680A-4BC2-86CB-5D2DB66F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5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52DBE4-0E61-401B-BD63-91D12BCAE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424E131-06CD-4DDF-BC06-F98D2D3B9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615191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5B3AFD-D5D4-46CB-9F1D-95D2EFDFB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1BD99F9-6247-4A54-87C4-9749A54B1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5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DBF052-AB7F-4048-9680-0492DCE6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92A02BA-2BB6-4CF6-8B58-CFAA66013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361121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12E4EC-12D7-42E4-AE43-F6D7008AB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5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06D130-0739-4330-9775-702FDF7EE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4FAE36-22DA-4CEF-82CE-F85F3D6E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189405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0AC2F0-B610-42BD-9258-BE4E8A47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94586C-48B1-4459-A0A6-DFA4C0FE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618E00B-DFA9-4ABA-9E89-EC4C6B3AC9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E3D956F-D736-467D-809E-A6B8EBBB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A2BC7A4-764C-4169-ADBC-7F1248B44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FFD62-2584-4271-8B43-930689E42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0419658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5F6CA7-4510-4C38-AB29-269B0667E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5F525D-76F8-4F89-ACDB-370F1E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13CD65-3F93-416A-8079-50A6B39FD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FE6EB9A-EACF-42B5-8677-B501B2A42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CB2E11-5C59-4983-B23C-94050313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284666C-EC8D-44A8-94DD-5735F9059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539312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97903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C593D8-E6C3-42E0-91E5-34BBFE763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D27C9F-D286-49AD-B637-AB03985B6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051D3F-4680-4DFE-9D28-92707289C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A2C8DA-A4B9-4CA7-8902-C297ECB62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C9B13D-3976-43E2-9805-3E309ABC7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496725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2A4CD9B6-8A80-4B59-B5D5-0A7202A073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D6E8B14-04CE-430A-97C5-E63E3AC624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124C15-1E21-44AA-B0CF-567922D2D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7C4AD0-92D5-4BED-AD8D-2078F6B7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065E49F-34C0-46C8-AAEF-3C9FAFE7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044533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42271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6813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187845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4334566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19486590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752291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3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607353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ED3D988A-38CF-4B35-BE79-653349F08EA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1E4874C8-049D-425A-B61A-352FEB3182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9AB1B653-4A88-4E8D-96A2-5C0EBB7FB4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53893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5633378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9F1456EA-4541-48E1-AB60-E6DAB56C558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E01E90ED-357E-40A6-AD28-747087321CD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7F8E84A5-6449-432E-ADB6-18264DBF2B8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D0E2827-15A6-4BAB-ACC7-CB3D469C1A1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8973F025-355D-4512-B710-6105D84C11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152092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593EA5D4-B03A-4B11-A4C0-282F833283D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0E5FA04C-AABA-46E8-A370-3327A676F38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BBC17E35-0B10-48FD-91F9-B3AB3B12316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B4162CB-0524-4344-AE6A-3B7812F497E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21835B84-8F55-43D8-954E-4CF1DE31F1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53461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2BBEA9DF-5A8A-4302-AFFF-E12DBC52A24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0" name="Skupina 9">
              <a:extLst>
                <a:ext uri="{FF2B5EF4-FFF2-40B4-BE49-F238E27FC236}">
                  <a16:creationId xmlns:a16="http://schemas.microsoft.com/office/drawing/2014/main" id="{E1B4E032-66E8-49E2-854E-F1371E2F8485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2" name="Grafický objekt 11">
                <a:extLst>
                  <a:ext uri="{FF2B5EF4-FFF2-40B4-BE49-F238E27FC236}">
                    <a16:creationId xmlns:a16="http://schemas.microsoft.com/office/drawing/2014/main" id="{BC470F14-8C7A-4F18-B530-7CC67113384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3" name="Grafický objekt 12">
                <a:extLst>
                  <a:ext uri="{FF2B5EF4-FFF2-40B4-BE49-F238E27FC236}">
                    <a16:creationId xmlns:a16="http://schemas.microsoft.com/office/drawing/2014/main" id="{E7742909-C46D-44BD-B539-A4F7ABD251C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1" name="Obrázek 10" descr="Obsah obrázku kreslení&#10;&#10;Popis byl vytvořen automaticky">
              <a:extLst>
                <a:ext uri="{FF2B5EF4-FFF2-40B4-BE49-F238E27FC236}">
                  <a16:creationId xmlns:a16="http://schemas.microsoft.com/office/drawing/2014/main" id="{1763603A-3381-4433-AF56-EE1B417657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11972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C333F920-D1E5-4994-9EBD-9A89C42CBE3E}"/>
              </a:ext>
            </a:extLst>
          </p:cNvPr>
          <p:cNvGrpSpPr/>
          <p:nvPr userDrawn="1"/>
        </p:nvGrpSpPr>
        <p:grpSpPr>
          <a:xfrm>
            <a:off x="6279927" y="124978"/>
            <a:ext cx="5742276" cy="451023"/>
            <a:chOff x="6353729" y="329946"/>
            <a:chExt cx="5742276" cy="451023"/>
          </a:xfrm>
        </p:grpSpPr>
        <p:grpSp>
          <p:nvGrpSpPr>
            <p:cNvPr id="11" name="Skupina 10">
              <a:extLst>
                <a:ext uri="{FF2B5EF4-FFF2-40B4-BE49-F238E27FC236}">
                  <a16:creationId xmlns:a16="http://schemas.microsoft.com/office/drawing/2014/main" id="{7CF9DDBB-3FCE-4A6B-9324-5F5CE7374982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5822CFA-D4E2-4051-A738-DC3855AFF04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3386CBD1-D029-4EDD-804C-74BF739420D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EBA595F3-4136-4431-A34D-3FE6EB8224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8392837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49465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399174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17782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858084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2429751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624475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480429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36693119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386372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42069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02944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44017977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0761056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96397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387250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026680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20438075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3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757571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5938134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417975049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23438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483476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39303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913098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706018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1469629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27961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91854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09693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039226"/>
            <a:ext cx="11487705" cy="5587305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1FBEFA6-3CC9-4A8B-98AB-811AE091489A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C2747F8C-F296-41AB-B6E6-650FFEA0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928806D-A537-4323-B4ED-4983696D2AF8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B2B0A03-1219-4FC5-81C7-A43DCB123A0C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2E921148-1008-412D-AB36-245237C3D6B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28" name="Obrázek 2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480755B3-A38B-4215-974C-50EA6F6649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23" name="Grafický objekt 22">
              <a:extLst>
                <a:ext uri="{FF2B5EF4-FFF2-40B4-BE49-F238E27FC236}">
                  <a16:creationId xmlns:a16="http://schemas.microsoft.com/office/drawing/2014/main" id="{1A14BE4F-72B2-49A1-B4A4-7983F7AE57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40953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DC58920C-B9EC-4A94-B9EB-451592F3EED9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A3C58891-14E6-4818-B969-C72F93F08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B49FBB4-BF51-45C2-86CA-B4502DA62936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14" name="Skupina 13">
              <a:extLst>
                <a:ext uri="{FF2B5EF4-FFF2-40B4-BE49-F238E27FC236}">
                  <a16:creationId xmlns:a16="http://schemas.microsoft.com/office/drawing/2014/main" id="{1533BE81-CFEE-48A9-AF03-143EC513CB79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BA1D09A-64DD-4910-BF60-CC7075472A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8" name="Obrázek 1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3A04F306-61D6-499B-9F34-24714C7AFEA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62747C58-6152-448D-9270-C4FE61C51F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915024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al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57251005-B581-4C6B-9623-FE7C9E672C61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2ABA8342-40EF-4EF8-878F-E756BF1AAB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C133C2D-E49B-4A76-8E4C-79637436790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02342" y="93094"/>
            <a:ext cx="4017507" cy="504000"/>
            <a:chOff x="5972087" y="329946"/>
            <a:chExt cx="6026262" cy="73700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7B0E7EF1-130B-4AF3-9B9B-F57B675459BE}"/>
                </a:ext>
              </a:extLst>
            </p:cNvPr>
            <p:cNvGrpSpPr/>
            <p:nvPr userDrawn="1"/>
          </p:nvGrpSpPr>
          <p:grpSpPr>
            <a:xfrm>
              <a:off x="8116661" y="331276"/>
              <a:ext cx="3881688" cy="450808"/>
              <a:chOff x="8214317" y="331276"/>
              <a:chExt cx="3881688" cy="450808"/>
            </a:xfrm>
          </p:grpSpPr>
          <p:pic>
            <p:nvPicPr>
              <p:cNvPr id="14" name="Grafický objekt 13">
                <a:extLst>
                  <a:ext uri="{FF2B5EF4-FFF2-40B4-BE49-F238E27FC236}">
                    <a16:creationId xmlns:a16="http://schemas.microsoft.com/office/drawing/2014/main" id="{5A70A0E6-773C-4F6E-853C-28A61AEF1D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214317" y="471177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5" name="Obrázek 14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7F95AEA6-4367-4B52-93A3-3068041EC41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31276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ABAFA576-D9BF-4267-9BD2-2B78AD34E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2737424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5810869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80596554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75002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529411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6647909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238927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5" Type="http://schemas.openxmlformats.org/officeDocument/2006/relationships/slideLayout" Target="../slideLayouts/slideLayout33.xml"/><Relationship Id="rId4" Type="http://schemas.openxmlformats.org/officeDocument/2006/relationships/slideLayout" Target="../slideLayouts/slideLayout3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38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5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9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5" Type="http://schemas.openxmlformats.org/officeDocument/2006/relationships/slideLayout" Target="../slideLayouts/slideLayout51.xml"/><Relationship Id="rId4" Type="http://schemas.openxmlformats.org/officeDocument/2006/relationships/slideLayout" Target="../slideLayouts/slideLayout50.xml"/><Relationship Id="rId9" Type="http://schemas.openxmlformats.org/officeDocument/2006/relationships/image" Target="../media/image4.png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6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7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2.xml"/><Relationship Id="rId7" Type="http://schemas.openxmlformats.org/officeDocument/2006/relationships/theme" Target="../theme/theme9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5" Type="http://schemas.openxmlformats.org/officeDocument/2006/relationships/slideLayout" Target="../slideLayouts/slideLayout64.xml"/><Relationship Id="rId4" Type="http://schemas.openxmlformats.org/officeDocument/2006/relationships/slideLayout" Target="../slideLayouts/slideLayout6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3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48512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848" r:id="rId6"/>
    <p:sldLayoutId id="2147483843" r:id="rId7"/>
    <p:sldLayoutId id="2147483844" r:id="rId8"/>
    <p:sldLayoutId id="2147483845" r:id="rId9"/>
    <p:sldLayoutId id="2147483847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58AF7D2-4ED1-4129-9DE6-4BC40E78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4C08E0B-8703-4F4B-A221-FA41C8EDA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CDA1AE-D051-4265-B739-BBADD05EDA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58D0A-07E9-4A68-88A0-7C25FDBBE4AC}" type="datetimeFigureOut">
              <a:rPr lang="cs-CZ" smtClean="0"/>
              <a:t>03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14082-EF73-46FC-8343-A2A358277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998947-0E69-43B5-8B05-739CE4C1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91825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428498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9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461433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5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973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3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19956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6027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7" r:id="rId2"/>
    <p:sldLayoutId id="2147483818" r:id="rId3"/>
    <p:sldLayoutId id="2147483819" r:id="rId4"/>
    <p:sldLayoutId id="2147483820" r:id="rId5"/>
    <p:sldLayoutId id="2147483821" r:id="rId6"/>
    <p:sldLayoutId id="2147483824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5319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  <p:sldLayoutId id="2147483830" r:id="rId5"/>
    <p:sldLayoutId id="2147483831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193929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6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chart" Target="../charts/chart3.xml"/><Relationship Id="rId5" Type="http://schemas.openxmlformats.org/officeDocument/2006/relationships/slideLayout" Target="../slideLayouts/slideLayout35.xml"/><Relationship Id="rId4" Type="http://schemas.openxmlformats.org/officeDocument/2006/relationships/tags" Target="../tags/tag7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image" Target="../media/image28.emf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slideLayout" Target="../slideLayouts/slideLayout26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5" Type="http://schemas.openxmlformats.org/officeDocument/2006/relationships/tags" Target="../tags/tag77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8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13" Type="http://schemas.openxmlformats.org/officeDocument/2006/relationships/chart" Target="../charts/chart5.xml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12" Type="http://schemas.openxmlformats.org/officeDocument/2006/relationships/chart" Target="../charts/chart4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tags" Target="../tags/tag90.xml"/><Relationship Id="rId11" Type="http://schemas.openxmlformats.org/officeDocument/2006/relationships/slideLayout" Target="../slideLayouts/slideLayout35.xml"/><Relationship Id="rId5" Type="http://schemas.openxmlformats.org/officeDocument/2006/relationships/tags" Target="../tags/tag89.xml"/><Relationship Id="rId10" Type="http://schemas.openxmlformats.org/officeDocument/2006/relationships/tags" Target="../tags/tag94.xml"/><Relationship Id="rId4" Type="http://schemas.openxmlformats.org/officeDocument/2006/relationships/tags" Target="../tags/tag88.xml"/><Relationship Id="rId9" Type="http://schemas.openxmlformats.org/officeDocument/2006/relationships/tags" Target="../tags/tag9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tags" Target="../tags/tag97.xml"/><Relationship Id="rId7" Type="http://schemas.openxmlformats.org/officeDocument/2006/relationships/chart" Target="../charts/chart6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slideLayout" Target="../slideLayouts/slideLayout35.xml"/><Relationship Id="rId5" Type="http://schemas.openxmlformats.org/officeDocument/2006/relationships/tags" Target="../tags/tag99.xml"/><Relationship Id="rId4" Type="http://schemas.openxmlformats.org/officeDocument/2006/relationships/tags" Target="../tags/tag98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tags" Target="../tags/tag105.xml"/><Relationship Id="rId11" Type="http://schemas.openxmlformats.org/officeDocument/2006/relationships/image" Target="../media/image30.png"/><Relationship Id="rId5" Type="http://schemas.openxmlformats.org/officeDocument/2006/relationships/tags" Target="../tags/tag104.xml"/><Relationship Id="rId10" Type="http://schemas.openxmlformats.org/officeDocument/2006/relationships/slideLayout" Target="../slideLayouts/slideLayout35.xml"/><Relationship Id="rId4" Type="http://schemas.openxmlformats.org/officeDocument/2006/relationships/tags" Target="../tags/tag103.xml"/><Relationship Id="rId9" Type="http://schemas.openxmlformats.org/officeDocument/2006/relationships/tags" Target="../tags/tag10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9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tags" Target="../tags/tag115.xml"/><Relationship Id="rId5" Type="http://schemas.openxmlformats.org/officeDocument/2006/relationships/tags" Target="../tags/tag114.xml"/><Relationship Id="rId10" Type="http://schemas.openxmlformats.org/officeDocument/2006/relationships/chart" Target="../charts/chart8.xml"/><Relationship Id="rId4" Type="http://schemas.openxmlformats.org/officeDocument/2006/relationships/tags" Target="../tags/tag113.xml"/><Relationship Id="rId9" Type="http://schemas.openxmlformats.org/officeDocument/2006/relationships/slideLayout" Target="../slideLayouts/slideLayout4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25.xml"/><Relationship Id="rId3" Type="http://schemas.openxmlformats.org/officeDocument/2006/relationships/tags" Target="../tags/tag120.xml"/><Relationship Id="rId7" Type="http://schemas.openxmlformats.org/officeDocument/2006/relationships/tags" Target="../tags/tag124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tags" Target="../tags/tag123.xml"/><Relationship Id="rId5" Type="http://schemas.openxmlformats.org/officeDocument/2006/relationships/tags" Target="../tags/tag122.xml"/><Relationship Id="rId10" Type="http://schemas.openxmlformats.org/officeDocument/2006/relationships/chart" Target="../charts/chart9.xml"/><Relationship Id="rId4" Type="http://schemas.openxmlformats.org/officeDocument/2006/relationships/tags" Target="../tags/tag121.xml"/><Relationship Id="rId9" Type="http://schemas.openxmlformats.org/officeDocument/2006/relationships/slideLayout" Target="../slideLayouts/slideLayout4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126.xml"/><Relationship Id="rId4" Type="http://schemas.openxmlformats.org/officeDocument/2006/relationships/chart" Target="../charts/chart10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13" Type="http://schemas.openxmlformats.org/officeDocument/2006/relationships/slideLayout" Target="../slideLayouts/slideLayout6.xml"/><Relationship Id="rId3" Type="http://schemas.openxmlformats.org/officeDocument/2006/relationships/tags" Target="../tags/tag129.xml"/><Relationship Id="rId7" Type="http://schemas.openxmlformats.org/officeDocument/2006/relationships/tags" Target="../tags/tag133.xml"/><Relationship Id="rId12" Type="http://schemas.openxmlformats.org/officeDocument/2006/relationships/tags" Target="../tags/tag138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11" Type="http://schemas.openxmlformats.org/officeDocument/2006/relationships/tags" Target="../tags/tag137.xml"/><Relationship Id="rId5" Type="http://schemas.openxmlformats.org/officeDocument/2006/relationships/tags" Target="../tags/tag131.xml"/><Relationship Id="rId10" Type="http://schemas.openxmlformats.org/officeDocument/2006/relationships/tags" Target="../tags/tag136.xml"/><Relationship Id="rId4" Type="http://schemas.openxmlformats.org/officeDocument/2006/relationships/tags" Target="../tags/tag130.xml"/><Relationship Id="rId9" Type="http://schemas.openxmlformats.org/officeDocument/2006/relationships/tags" Target="../tags/tag135.xml"/><Relationship Id="rId14" Type="http://schemas.openxmlformats.org/officeDocument/2006/relationships/notesSlide" Target="../notesSlides/notesSlide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39.xml"/><Relationship Id="rId4" Type="http://schemas.openxmlformats.org/officeDocument/2006/relationships/image" Target="../media/image32.emf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chart" Target="../charts/chart11.xml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145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slideLayout" Target="../slideLayouts/slideLayout12.xml"/><Relationship Id="rId5" Type="http://schemas.openxmlformats.org/officeDocument/2006/relationships/tags" Target="../tags/tag147.xml"/><Relationship Id="rId4" Type="http://schemas.openxmlformats.org/officeDocument/2006/relationships/tags" Target="../tags/tag14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50.xml"/><Relationship Id="rId7" Type="http://schemas.openxmlformats.org/officeDocument/2006/relationships/image" Target="../media/image33.emf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15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7" Type="http://schemas.openxmlformats.org/officeDocument/2006/relationships/chart" Target="../charts/chart12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15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5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12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4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58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3.xml"/><Relationship Id="rId1" Type="http://schemas.openxmlformats.org/officeDocument/2006/relationships/tags" Target="../tags/tag156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3" Type="http://schemas.openxmlformats.org/officeDocument/2006/relationships/tags" Target="../tags/tag159.xml"/><Relationship Id="rId7" Type="http://schemas.openxmlformats.org/officeDocument/2006/relationships/tags" Target="../tags/tag163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tags" Target="../tags/tag162.xml"/><Relationship Id="rId5" Type="http://schemas.openxmlformats.org/officeDocument/2006/relationships/tags" Target="../tags/tag161.xml"/><Relationship Id="rId4" Type="http://schemas.openxmlformats.org/officeDocument/2006/relationships/tags" Target="../tags/tag160.xml"/><Relationship Id="rId9" Type="http://schemas.openxmlformats.org/officeDocument/2006/relationships/chart" Target="../charts/chart14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13" Type="http://schemas.openxmlformats.org/officeDocument/2006/relationships/chart" Target="../charts/chart15.xml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12" Type="http://schemas.openxmlformats.org/officeDocument/2006/relationships/slideLayout" Target="../slideLayouts/slideLayout35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tags" Target="../tags/tag169.xml"/><Relationship Id="rId11" Type="http://schemas.openxmlformats.org/officeDocument/2006/relationships/tags" Target="../tags/tag174.xml"/><Relationship Id="rId5" Type="http://schemas.openxmlformats.org/officeDocument/2006/relationships/tags" Target="../tags/tag168.xml"/><Relationship Id="rId10" Type="http://schemas.openxmlformats.org/officeDocument/2006/relationships/tags" Target="../tags/tag173.xml"/><Relationship Id="rId4" Type="http://schemas.openxmlformats.org/officeDocument/2006/relationships/tags" Target="../tags/tag167.xml"/><Relationship Id="rId9" Type="http://schemas.openxmlformats.org/officeDocument/2006/relationships/tags" Target="../tags/tag172.xml"/><Relationship Id="rId14" Type="http://schemas.openxmlformats.org/officeDocument/2006/relationships/chart" Target="../charts/chart16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tags" Target="../tags/tag182.xml"/><Relationship Id="rId3" Type="http://schemas.openxmlformats.org/officeDocument/2006/relationships/tags" Target="../tags/tag177.xml"/><Relationship Id="rId7" Type="http://schemas.openxmlformats.org/officeDocument/2006/relationships/tags" Target="../tags/tag181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6" Type="http://schemas.openxmlformats.org/officeDocument/2006/relationships/tags" Target="../tags/tag180.xml"/><Relationship Id="rId11" Type="http://schemas.openxmlformats.org/officeDocument/2006/relationships/notesSlide" Target="../notesSlides/notesSlide12.xml"/><Relationship Id="rId5" Type="http://schemas.openxmlformats.org/officeDocument/2006/relationships/tags" Target="../tags/tag179.xml"/><Relationship Id="rId10" Type="http://schemas.openxmlformats.org/officeDocument/2006/relationships/slideLayout" Target="../slideLayouts/slideLayout40.xml"/><Relationship Id="rId4" Type="http://schemas.openxmlformats.org/officeDocument/2006/relationships/tags" Target="../tags/tag178.xml"/><Relationship Id="rId9" Type="http://schemas.openxmlformats.org/officeDocument/2006/relationships/tags" Target="../tags/tag18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40.xml"/><Relationship Id="rId4" Type="http://schemas.openxmlformats.org/officeDocument/2006/relationships/tags" Target="../tags/tag18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4" Type="http://schemas.openxmlformats.org/officeDocument/2006/relationships/chart" Target="../charts/char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91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4.xml"/><Relationship Id="rId3" Type="http://schemas.openxmlformats.org/officeDocument/2006/relationships/tags" Target="../tags/tag194.xml"/><Relationship Id="rId7" Type="http://schemas.openxmlformats.org/officeDocument/2006/relationships/slideLayout" Target="../slideLayouts/slideLayout40.xml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tags" Target="../tags/tag197.xml"/><Relationship Id="rId5" Type="http://schemas.openxmlformats.org/officeDocument/2006/relationships/tags" Target="../tags/tag196.xml"/><Relationship Id="rId4" Type="http://schemas.openxmlformats.org/officeDocument/2006/relationships/tags" Target="../tags/tag195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4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4" Type="http://schemas.openxmlformats.org/officeDocument/2006/relationships/image" Target="../media/image35.emf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tags" Target="../tags/tag22.xml"/><Relationship Id="rId18" Type="http://schemas.openxmlformats.org/officeDocument/2006/relationships/tags" Target="../tags/tag27.xml"/><Relationship Id="rId3" Type="http://schemas.openxmlformats.org/officeDocument/2006/relationships/tags" Target="../tags/tag12.xml"/><Relationship Id="rId21" Type="http://schemas.openxmlformats.org/officeDocument/2006/relationships/image" Target="../media/image14.png"/><Relationship Id="rId7" Type="http://schemas.openxmlformats.org/officeDocument/2006/relationships/tags" Target="../tags/tag16.xml"/><Relationship Id="rId12" Type="http://schemas.openxmlformats.org/officeDocument/2006/relationships/tags" Target="../tags/tag21.xml"/><Relationship Id="rId17" Type="http://schemas.openxmlformats.org/officeDocument/2006/relationships/tags" Target="../tags/tag26.xml"/><Relationship Id="rId2" Type="http://schemas.openxmlformats.org/officeDocument/2006/relationships/tags" Target="../tags/tag11.xml"/><Relationship Id="rId16" Type="http://schemas.openxmlformats.org/officeDocument/2006/relationships/tags" Target="../tags/tag25.xml"/><Relationship Id="rId20" Type="http://schemas.openxmlformats.org/officeDocument/2006/relationships/image" Target="../media/image13.png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24" Type="http://schemas.openxmlformats.org/officeDocument/2006/relationships/image" Target="../media/image17.png"/><Relationship Id="rId5" Type="http://schemas.openxmlformats.org/officeDocument/2006/relationships/tags" Target="../tags/tag14.xml"/><Relationship Id="rId15" Type="http://schemas.openxmlformats.org/officeDocument/2006/relationships/tags" Target="../tags/tag24.xml"/><Relationship Id="rId23" Type="http://schemas.openxmlformats.org/officeDocument/2006/relationships/image" Target="../media/image16.png"/><Relationship Id="rId10" Type="http://schemas.openxmlformats.org/officeDocument/2006/relationships/tags" Target="../tags/tag19.xml"/><Relationship Id="rId19" Type="http://schemas.openxmlformats.org/officeDocument/2006/relationships/slideLayout" Target="../slideLayouts/slideLayout46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tags" Target="../tags/tag23.xml"/><Relationship Id="rId22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tags" Target="../tags/tag40.xml"/><Relationship Id="rId18" Type="http://schemas.openxmlformats.org/officeDocument/2006/relationships/tags" Target="../tags/tag45.xml"/><Relationship Id="rId3" Type="http://schemas.openxmlformats.org/officeDocument/2006/relationships/tags" Target="../tags/tag30.xml"/><Relationship Id="rId21" Type="http://schemas.openxmlformats.org/officeDocument/2006/relationships/image" Target="../media/image19.png"/><Relationship Id="rId7" Type="http://schemas.openxmlformats.org/officeDocument/2006/relationships/tags" Target="../tags/tag34.xml"/><Relationship Id="rId12" Type="http://schemas.openxmlformats.org/officeDocument/2006/relationships/tags" Target="../tags/tag39.xml"/><Relationship Id="rId17" Type="http://schemas.openxmlformats.org/officeDocument/2006/relationships/tags" Target="../tags/tag44.xml"/><Relationship Id="rId2" Type="http://schemas.openxmlformats.org/officeDocument/2006/relationships/tags" Target="../tags/tag29.xml"/><Relationship Id="rId16" Type="http://schemas.openxmlformats.org/officeDocument/2006/relationships/tags" Target="../tags/tag43.xml"/><Relationship Id="rId20" Type="http://schemas.openxmlformats.org/officeDocument/2006/relationships/image" Target="../media/image18.png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24" Type="http://schemas.openxmlformats.org/officeDocument/2006/relationships/image" Target="../media/image22.png"/><Relationship Id="rId5" Type="http://schemas.openxmlformats.org/officeDocument/2006/relationships/tags" Target="../tags/tag32.xml"/><Relationship Id="rId15" Type="http://schemas.openxmlformats.org/officeDocument/2006/relationships/tags" Target="../tags/tag42.xml"/><Relationship Id="rId23" Type="http://schemas.openxmlformats.org/officeDocument/2006/relationships/image" Target="../media/image21.png"/><Relationship Id="rId10" Type="http://schemas.openxmlformats.org/officeDocument/2006/relationships/tags" Target="../tags/tag37.xml"/><Relationship Id="rId19" Type="http://schemas.openxmlformats.org/officeDocument/2006/relationships/slideLayout" Target="../slideLayouts/slideLayout46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tags" Target="../tags/tag41.xml"/><Relationship Id="rId22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13" Type="http://schemas.openxmlformats.org/officeDocument/2006/relationships/tags" Target="../tags/tag58.xml"/><Relationship Id="rId18" Type="http://schemas.openxmlformats.org/officeDocument/2006/relationships/tags" Target="../tags/tag63.xml"/><Relationship Id="rId26" Type="http://schemas.openxmlformats.org/officeDocument/2006/relationships/image" Target="../media/image25.png"/><Relationship Id="rId3" Type="http://schemas.openxmlformats.org/officeDocument/2006/relationships/tags" Target="../tags/tag48.xml"/><Relationship Id="rId21" Type="http://schemas.openxmlformats.org/officeDocument/2006/relationships/tags" Target="../tags/tag66.xml"/><Relationship Id="rId7" Type="http://schemas.openxmlformats.org/officeDocument/2006/relationships/tags" Target="../tags/tag52.xml"/><Relationship Id="rId12" Type="http://schemas.openxmlformats.org/officeDocument/2006/relationships/tags" Target="../tags/tag57.xml"/><Relationship Id="rId17" Type="http://schemas.openxmlformats.org/officeDocument/2006/relationships/tags" Target="../tags/tag62.xml"/><Relationship Id="rId25" Type="http://schemas.openxmlformats.org/officeDocument/2006/relationships/image" Target="../media/image24.png"/><Relationship Id="rId2" Type="http://schemas.openxmlformats.org/officeDocument/2006/relationships/tags" Target="../tags/tag47.xml"/><Relationship Id="rId16" Type="http://schemas.openxmlformats.org/officeDocument/2006/relationships/tags" Target="../tags/tag61.xml"/><Relationship Id="rId20" Type="http://schemas.openxmlformats.org/officeDocument/2006/relationships/tags" Target="../tags/tag65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11" Type="http://schemas.openxmlformats.org/officeDocument/2006/relationships/tags" Target="../tags/tag56.xml"/><Relationship Id="rId24" Type="http://schemas.openxmlformats.org/officeDocument/2006/relationships/image" Target="../media/image23.png"/><Relationship Id="rId5" Type="http://schemas.openxmlformats.org/officeDocument/2006/relationships/tags" Target="../tags/tag50.xml"/><Relationship Id="rId15" Type="http://schemas.openxmlformats.org/officeDocument/2006/relationships/tags" Target="../tags/tag60.xml"/><Relationship Id="rId23" Type="http://schemas.openxmlformats.org/officeDocument/2006/relationships/image" Target="../media/image14.png"/><Relationship Id="rId10" Type="http://schemas.openxmlformats.org/officeDocument/2006/relationships/tags" Target="../tags/tag55.xml"/><Relationship Id="rId19" Type="http://schemas.openxmlformats.org/officeDocument/2006/relationships/tags" Target="../tags/tag64.xml"/><Relationship Id="rId4" Type="http://schemas.openxmlformats.org/officeDocument/2006/relationships/tags" Target="../tags/tag49.xml"/><Relationship Id="rId9" Type="http://schemas.openxmlformats.org/officeDocument/2006/relationships/tags" Target="../tags/tag54.xml"/><Relationship Id="rId14" Type="http://schemas.openxmlformats.org/officeDocument/2006/relationships/tags" Target="../tags/tag59.xml"/><Relationship Id="rId22" Type="http://schemas.openxmlformats.org/officeDocument/2006/relationships/slideLayout" Target="../slideLayouts/slideLayout46.xml"/><Relationship Id="rId27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6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Stav epidemie k </a:t>
            </a:r>
            <a:r>
              <a:rPr lang="cs-CZ" sz="4800" b="1" dirty="0" smtClean="0"/>
              <a:t>3. 5. </a:t>
            </a:r>
            <a:r>
              <a:rPr lang="cs-CZ" sz="4800" b="1" dirty="0"/>
              <a:t>2021</a:t>
            </a:r>
          </a:p>
          <a:p>
            <a:r>
              <a:rPr lang="cs-CZ" sz="4800" b="1" dirty="0"/>
              <a:t>– stručný přehled aktuálních dat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11084619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Zátěž regionů ve vzájemném srovnání </a:t>
            </a:r>
            <a:r>
              <a:rPr lang="pl-PL" dirty="0"/>
              <a:t>krajů k </a:t>
            </a:r>
            <a:r>
              <a:rPr lang="cs-CZ" dirty="0" smtClean="0"/>
              <a:t>3.5.</a:t>
            </a:r>
            <a:endParaRPr lang="cs-CZ" dirty="0"/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/>
        </p:nvSpPr>
        <p:spPr>
          <a:xfrm>
            <a:off x="7004650" y="1115868"/>
            <a:ext cx="4986068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zi regiony stále existují významné rozdíly, které stále odpovídají gradientu rostoucího rizika „západ -&gt; východ“ země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 mezinárodně používanou hranici 100 nových případů na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s. obyvatel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louhodobě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esly hodnoty v Karlovarském, Královéhradeckém a v Plzeňském kraji.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ěsně k dané hranici klesly hodnoty v Libereckém</a:t>
            </a:r>
            <a:r>
              <a:rPr kumimoji="0" lang="cs-CZ" sz="20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 Pardubickém kraji a dále v Praze. </a:t>
            </a:r>
            <a:endParaRPr kumimoji="0" lang="cs-CZ" sz="2000" b="1" i="0" u="none" strike="noStrike" kern="1200" cap="none" spc="0" normalizeH="0" baseline="0" noProof="0" dirty="0" smtClean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000" b="1" dirty="0">
              <a:solidFill>
                <a:srgbClr val="0000FF"/>
              </a:solidFill>
              <a:latin typeface="Arial" panose="020B060402020202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tenciálně rizikový je zejména kraj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línský a dále kraj Jihočeský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" name="Tabulk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5356337"/>
              </p:ext>
            </p:extLst>
          </p:nvPr>
        </p:nvGraphicFramePr>
        <p:xfrm>
          <a:off x="502569" y="1114338"/>
          <a:ext cx="6321311" cy="51816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98054">
                  <a:extLst>
                    <a:ext uri="{9D8B030D-6E8A-4147-A177-3AD203B41FA5}">
                      <a16:colId xmlns:a16="http://schemas.microsoft.com/office/drawing/2014/main" val="1787991355"/>
                    </a:ext>
                  </a:extLst>
                </a:gridCol>
                <a:gridCol w="1577858">
                  <a:extLst>
                    <a:ext uri="{9D8B030D-6E8A-4147-A177-3AD203B41FA5}">
                      <a16:colId xmlns:a16="http://schemas.microsoft.com/office/drawing/2014/main" val="2599438436"/>
                    </a:ext>
                  </a:extLst>
                </a:gridCol>
                <a:gridCol w="1945399">
                  <a:extLst>
                    <a:ext uri="{9D8B030D-6E8A-4147-A177-3AD203B41FA5}">
                      <a16:colId xmlns:a16="http://schemas.microsoft.com/office/drawing/2014/main" val="2317516597"/>
                    </a:ext>
                  </a:extLst>
                </a:gridCol>
              </a:tblGrid>
              <a:tr h="16637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effectLst/>
                        </a:rPr>
                        <a:t>Název</a:t>
                      </a:r>
                      <a:r>
                        <a:rPr lang="en-US" sz="1600" b="1" dirty="0">
                          <a:effectLst/>
                        </a:rPr>
                        <a:t> </a:t>
                      </a:r>
                      <a:r>
                        <a:rPr lang="en-US" sz="1600" b="1" dirty="0" err="1">
                          <a:effectLst/>
                        </a:rPr>
                        <a:t>kraje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effectLst/>
                        </a:rPr>
                        <a:t>Denní</a:t>
                      </a:r>
                      <a:r>
                        <a:rPr lang="en-US" sz="1600" b="1" dirty="0">
                          <a:effectLst/>
                        </a:rPr>
                        <a:t> </a:t>
                      </a:r>
                      <a:r>
                        <a:rPr lang="en-US" sz="1600" b="1" dirty="0" err="1">
                          <a:effectLst/>
                        </a:rPr>
                        <a:t>počet</a:t>
                      </a:r>
                      <a:r>
                        <a:rPr lang="en-US" sz="1600" b="1" dirty="0">
                          <a:effectLst/>
                        </a:rPr>
                        <a:t> </a:t>
                      </a:r>
                      <a:r>
                        <a:rPr lang="en-US" sz="1600" b="1" dirty="0" err="1">
                          <a:effectLst/>
                        </a:rPr>
                        <a:t>nových</a:t>
                      </a:r>
                      <a:r>
                        <a:rPr lang="en-US" sz="1600" b="1" dirty="0">
                          <a:effectLst/>
                        </a:rPr>
                        <a:t> </a:t>
                      </a:r>
                      <a:r>
                        <a:rPr lang="en-US" sz="1600" b="1" dirty="0" err="1">
                          <a:effectLst/>
                        </a:rPr>
                        <a:t>případů</a:t>
                      </a:r>
                      <a:r>
                        <a:rPr lang="en-US" sz="1600" b="1" dirty="0">
                          <a:effectLst/>
                        </a:rPr>
                        <a:t> (%)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</a:rPr>
                        <a:t>7denní </a:t>
                      </a:r>
                      <a:r>
                        <a:rPr lang="en-US" sz="1600" b="1" dirty="0" err="1">
                          <a:effectLst/>
                        </a:rPr>
                        <a:t>počet</a:t>
                      </a:r>
                      <a:r>
                        <a:rPr lang="en-US" sz="1600" b="1" dirty="0">
                          <a:effectLst/>
                        </a:rPr>
                        <a:t> </a:t>
                      </a:r>
                      <a:r>
                        <a:rPr lang="en-US" sz="1600" b="1" dirty="0" err="1">
                          <a:effectLst/>
                        </a:rPr>
                        <a:t>nových</a:t>
                      </a:r>
                      <a:r>
                        <a:rPr lang="en-US" sz="1600" b="1" dirty="0">
                          <a:effectLst/>
                        </a:rPr>
                        <a:t> </a:t>
                      </a:r>
                      <a:r>
                        <a:rPr lang="en-US" sz="1600" b="1" dirty="0" err="1">
                          <a:effectLst/>
                        </a:rPr>
                        <a:t>případů</a:t>
                      </a:r>
                      <a:r>
                        <a:rPr lang="en-US" sz="1600" b="1" dirty="0">
                          <a:effectLst/>
                        </a:rPr>
                        <a:t> </a:t>
                      </a:r>
                      <a:r>
                        <a:rPr lang="en-US" sz="1600" b="1" dirty="0" err="1">
                          <a:effectLst/>
                        </a:rPr>
                        <a:t>na</a:t>
                      </a:r>
                      <a:r>
                        <a:rPr lang="en-US" sz="1600" b="1" dirty="0">
                          <a:effectLst/>
                        </a:rPr>
                        <a:t> 100 tis. </a:t>
                      </a:r>
                      <a:r>
                        <a:rPr lang="en-US" sz="1600" b="1" dirty="0" err="1">
                          <a:effectLst/>
                        </a:rPr>
                        <a:t>obyv</a:t>
                      </a:r>
                      <a:r>
                        <a:rPr lang="en-US" sz="1600" b="1" dirty="0">
                          <a:effectLst/>
                        </a:rPr>
                        <a:t>.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9735795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effectLst/>
                        </a:rPr>
                        <a:t>Moravskoslezský</a:t>
                      </a:r>
                      <a:r>
                        <a:rPr lang="en-US" sz="1600" b="1" dirty="0">
                          <a:effectLst/>
                        </a:rPr>
                        <a:t> </a:t>
                      </a:r>
                      <a:r>
                        <a:rPr lang="en-US" sz="1600" b="1" dirty="0" err="1">
                          <a:effectLst/>
                        </a:rPr>
                        <a:t>kraj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69 (13.7 %)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160.4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5097012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effectLst/>
                        </a:rPr>
                        <a:t>Jihomoravský</a:t>
                      </a:r>
                      <a:r>
                        <a:rPr lang="en-US" sz="1600" b="1" dirty="0">
                          <a:effectLst/>
                        </a:rPr>
                        <a:t> </a:t>
                      </a:r>
                      <a:r>
                        <a:rPr lang="en-US" sz="1600" b="1" dirty="0" err="1">
                          <a:effectLst/>
                        </a:rPr>
                        <a:t>kraj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69 (13.7 %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138.8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975664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effectLst/>
                        </a:rPr>
                        <a:t>Hlavní město Praha</a:t>
                      </a:r>
                      <a:endParaRPr lang="cs-CZ" sz="16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68 (13.5 %)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103.7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1116394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effectLst/>
                        </a:rPr>
                        <a:t>Středočeský</a:t>
                      </a:r>
                      <a:r>
                        <a:rPr lang="en-US" sz="1600" b="1" dirty="0">
                          <a:effectLst/>
                        </a:rPr>
                        <a:t> </a:t>
                      </a:r>
                      <a:r>
                        <a:rPr lang="en-US" sz="1600" b="1" dirty="0" err="1">
                          <a:effectLst/>
                        </a:rPr>
                        <a:t>kraj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63 (12.5 %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112.3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987336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C00000"/>
                          </a:solidFill>
                          <a:effectLst/>
                        </a:rPr>
                        <a:t>Jihočeský</a:t>
                      </a:r>
                      <a:r>
                        <a:rPr lang="en-US" sz="1600" b="1" dirty="0">
                          <a:solidFill>
                            <a:srgbClr val="C00000"/>
                          </a:solidFill>
                          <a:effectLst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C00000"/>
                          </a:solidFill>
                          <a:effectLst/>
                        </a:rPr>
                        <a:t>kraj</a:t>
                      </a:r>
                      <a:endParaRPr lang="cs-CZ" sz="1600" b="1" dirty="0"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C00000"/>
                          </a:solidFill>
                          <a:effectLst/>
                        </a:rPr>
                        <a:t>47 (9.3 %)</a:t>
                      </a:r>
                      <a:endParaRPr lang="cs-CZ" sz="1600" b="1" dirty="0"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C00000"/>
                          </a:solidFill>
                          <a:effectLst/>
                        </a:rPr>
                        <a:t>200.8</a:t>
                      </a:r>
                      <a:endParaRPr lang="cs-CZ" sz="1600" b="1" dirty="0"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29460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effectLst/>
                        </a:rPr>
                        <a:t>Ústecký kraj</a:t>
                      </a:r>
                      <a:endParaRPr lang="cs-CZ" sz="16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44 (8.7 %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171.0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7503992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effectLst/>
                        </a:rPr>
                        <a:t>Olomoucký</a:t>
                      </a:r>
                      <a:r>
                        <a:rPr lang="en-US" sz="1600" b="1" dirty="0">
                          <a:effectLst/>
                        </a:rPr>
                        <a:t> </a:t>
                      </a:r>
                      <a:r>
                        <a:rPr lang="en-US" sz="1600" b="1" dirty="0" err="1">
                          <a:effectLst/>
                        </a:rPr>
                        <a:t>kraj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37 (7.3 %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157.0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1642303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effectLst/>
                        </a:rPr>
                        <a:t>Liberecký kraj</a:t>
                      </a:r>
                      <a:endParaRPr lang="cs-CZ" sz="16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30 (6.0 %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105.9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1792044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effectLst/>
                        </a:rPr>
                        <a:t>Kraj</a:t>
                      </a:r>
                      <a:r>
                        <a:rPr lang="en-US" sz="1600" b="1" dirty="0">
                          <a:effectLst/>
                        </a:rPr>
                        <a:t> </a:t>
                      </a:r>
                      <a:r>
                        <a:rPr lang="en-US" sz="1600" b="1" dirty="0" err="1">
                          <a:effectLst/>
                        </a:rPr>
                        <a:t>Vysočina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18 (3.6 %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189.5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5544059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0000FF"/>
                          </a:solidFill>
                          <a:effectLst/>
                        </a:rPr>
                        <a:t>Královéhradecký</a:t>
                      </a:r>
                      <a:r>
                        <a:rPr lang="en-US" sz="1600" b="1" dirty="0">
                          <a:solidFill>
                            <a:srgbClr val="0000FF"/>
                          </a:solidFill>
                          <a:effectLst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FF"/>
                          </a:solidFill>
                          <a:effectLst/>
                        </a:rPr>
                        <a:t>kraj</a:t>
                      </a:r>
                      <a:endParaRPr lang="cs-CZ" sz="1600" b="1" dirty="0">
                        <a:solidFill>
                          <a:srgbClr val="0000FF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FF"/>
                          </a:solidFill>
                          <a:effectLst/>
                        </a:rPr>
                        <a:t>16 (3.2 %)</a:t>
                      </a:r>
                      <a:endParaRPr lang="cs-CZ" sz="1600">
                        <a:solidFill>
                          <a:srgbClr val="0000FF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FF"/>
                          </a:solidFill>
                          <a:effectLst/>
                        </a:rPr>
                        <a:t>55.8</a:t>
                      </a:r>
                      <a:endParaRPr lang="cs-CZ" sz="1600" dirty="0">
                        <a:solidFill>
                          <a:srgbClr val="0000FF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1253853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effectLst/>
                        </a:rPr>
                        <a:t>Pardubický</a:t>
                      </a:r>
                      <a:r>
                        <a:rPr lang="en-US" sz="1600" b="1" dirty="0">
                          <a:effectLst/>
                        </a:rPr>
                        <a:t> </a:t>
                      </a:r>
                      <a:r>
                        <a:rPr lang="en-US" sz="1600" b="1" dirty="0" err="1">
                          <a:effectLst/>
                        </a:rPr>
                        <a:t>kraj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16 (3.2 %)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105.6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3876774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0000FF"/>
                          </a:solidFill>
                          <a:effectLst/>
                        </a:rPr>
                        <a:t>Plzeňský</a:t>
                      </a:r>
                      <a:r>
                        <a:rPr lang="en-US" sz="1600" b="1" dirty="0">
                          <a:solidFill>
                            <a:srgbClr val="0000FF"/>
                          </a:solidFill>
                          <a:effectLst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FF"/>
                          </a:solidFill>
                          <a:effectLst/>
                        </a:rPr>
                        <a:t>kraj</a:t>
                      </a:r>
                      <a:endParaRPr lang="cs-CZ" sz="1600" b="1" dirty="0">
                        <a:solidFill>
                          <a:srgbClr val="0000FF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FF"/>
                          </a:solidFill>
                          <a:effectLst/>
                        </a:rPr>
                        <a:t>13 (2.6 %)</a:t>
                      </a:r>
                      <a:endParaRPr lang="cs-CZ" sz="1600" dirty="0">
                        <a:solidFill>
                          <a:srgbClr val="0000FF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FF"/>
                          </a:solidFill>
                          <a:effectLst/>
                        </a:rPr>
                        <a:t>88.7</a:t>
                      </a:r>
                      <a:endParaRPr lang="cs-CZ" sz="1600" dirty="0">
                        <a:solidFill>
                          <a:srgbClr val="0000FF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1523442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chemeClr val="tx2"/>
                          </a:solidFill>
                          <a:effectLst/>
                        </a:rPr>
                        <a:t>Zlínský</a:t>
                      </a:r>
                      <a:r>
                        <a:rPr lang="en-US" sz="1600" b="1" dirty="0">
                          <a:solidFill>
                            <a:schemeClr val="tx2"/>
                          </a:solidFill>
                          <a:effectLst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chemeClr val="tx2"/>
                          </a:solidFill>
                          <a:effectLst/>
                        </a:rPr>
                        <a:t>kraj</a:t>
                      </a:r>
                      <a:endParaRPr lang="cs-CZ" sz="1600" b="1" dirty="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tx2"/>
                          </a:solidFill>
                          <a:effectLst/>
                        </a:rPr>
                        <a:t>11 (2.2 %)</a:t>
                      </a:r>
                      <a:endParaRPr lang="cs-CZ" sz="1600" b="1" dirty="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tx2"/>
                          </a:solidFill>
                          <a:effectLst/>
                        </a:rPr>
                        <a:t>201.7</a:t>
                      </a:r>
                      <a:endParaRPr lang="cs-CZ" sz="1600" b="1" dirty="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750474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0000FF"/>
                          </a:solidFill>
                          <a:effectLst/>
                        </a:rPr>
                        <a:t>Karlovarský</a:t>
                      </a:r>
                      <a:r>
                        <a:rPr lang="en-US" sz="1600" b="1" dirty="0">
                          <a:solidFill>
                            <a:srgbClr val="0000FF"/>
                          </a:solidFill>
                          <a:effectLst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FF"/>
                          </a:solidFill>
                          <a:effectLst/>
                        </a:rPr>
                        <a:t>kraj</a:t>
                      </a:r>
                      <a:endParaRPr lang="cs-CZ" sz="1600" b="1" dirty="0">
                        <a:solidFill>
                          <a:srgbClr val="0000FF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FF"/>
                          </a:solidFill>
                          <a:effectLst/>
                        </a:rPr>
                        <a:t>1 (0.2 %)</a:t>
                      </a:r>
                      <a:endParaRPr lang="cs-CZ" sz="1600" dirty="0">
                        <a:solidFill>
                          <a:srgbClr val="0000FF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FF"/>
                          </a:solidFill>
                          <a:effectLst/>
                        </a:rPr>
                        <a:t>53.6</a:t>
                      </a:r>
                      <a:endParaRPr lang="cs-CZ" sz="1600" dirty="0">
                        <a:solidFill>
                          <a:srgbClr val="0000FF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852541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</a:rPr>
                        <a:t>ČR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504 (100.0 %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134.4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51926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307207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Vybrané ukazatele – srovnání regionů</a:t>
            </a: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739" y="757652"/>
            <a:ext cx="11361420" cy="6006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80054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98406" y="4480848"/>
            <a:ext cx="4768041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R (zjednodušený výpočet) - 7 denní úseky: srovnání krajů k </a:t>
            </a:r>
            <a:r>
              <a:rPr lang="cs-CZ" sz="2000" dirty="0">
                <a:latin typeface="+mn-lt"/>
              </a:rPr>
              <a:t>1</a:t>
            </a:r>
            <a:r>
              <a:rPr lang="pl-PL" sz="2000" dirty="0">
                <a:latin typeface="+mn-lt"/>
              </a:rPr>
              <a:t>.5.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04568666"/>
              </p:ext>
            </p:extLst>
          </p:nvPr>
        </p:nvGraphicFramePr>
        <p:xfrm>
          <a:off x="270230" y="1097989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926685" y="1214698"/>
            <a:ext cx="5779698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Hodnota reprodukčního čísla je &lt; 1 téměř ve všech regionech. Epidemie klesá, ale stále je v cca polovině regionů na vysokých hodnotách s potenciále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k růstu. </a:t>
            </a:r>
            <a:endParaRPr kumimoji="0" lang="cs-CZ" sz="2400" b="1" i="0" u="none" strike="noStrike" kern="1200" cap="none" spc="0" normalizeH="0" baseline="0" noProof="0" dirty="0" smtClean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400" b="1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produkční číslo v KVK a KHK osciluje kolem hodnoty 1, v KVK</a:t>
            </a:r>
            <a:r>
              <a:rPr kumimoji="0" lang="cs-CZ" sz="2400" b="1" i="0" u="none" strike="noStrike" kern="1200" cap="none" spc="0" normalizeH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je nyní nad hodnotou 1. Jde o důsledek oscilace ve velmi malých počtech potvrzených případů doplněný zjištěním jednoho velkého lokálního clusteru (věznice). </a:t>
            </a:r>
            <a:endParaRPr kumimoji="0" lang="cs-CZ" sz="2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1017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8172601" cy="576000"/>
          </a:xfrm>
        </p:spPr>
        <p:txBody>
          <a:bodyPr/>
          <a:lstStyle/>
          <a:p>
            <a:r>
              <a:rPr lang="cs-CZ" dirty="0"/>
              <a:t>Počty COVID-19 pozitivních na 100 000 v populaci v </a:t>
            </a:r>
            <a:r>
              <a:rPr lang="en-US" dirty="0" err="1"/>
              <a:t>kraj</a:t>
            </a:r>
            <a:r>
              <a:rPr lang="cs-CZ" dirty="0" err="1"/>
              <a:t>ích</a:t>
            </a:r>
            <a:r>
              <a:rPr lang="cs-CZ" dirty="0"/>
              <a:t> a ČR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rot="16200000">
            <a:off x="-2575382" y="3335853"/>
            <a:ext cx="591424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B82917E-EB1A-42EA-B728-8C7B5FA8D5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0458450" y="3429000"/>
            <a:ext cx="1159667" cy="16954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6E2622F-49FC-4FBC-81ED-6803DF0BC82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042967" y="3919301"/>
            <a:ext cx="16466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b="1" dirty="0"/>
              <a:t>Plzeňský kraj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B193EB7-144D-460C-97CE-E2EC4848C1E4}"/>
              </a:ext>
            </a:extLst>
          </p:cNvPr>
          <p:cNvCxnSpPr/>
          <p:nvPr>
            <p:custDataLst>
              <p:tags r:id="rId5"/>
            </p:custDataLst>
          </p:nvPr>
        </p:nvCxnSpPr>
        <p:spPr>
          <a:xfrm>
            <a:off x="5042019" y="765123"/>
            <a:ext cx="290557" cy="0"/>
          </a:xfrm>
          <a:prstGeom prst="line">
            <a:avLst/>
          </a:prstGeom>
          <a:ln w="285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68EA0C1D-374C-4981-AC45-7B9D37C21E1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306936" y="646000"/>
            <a:ext cx="48282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i="1" dirty="0"/>
              <a:t>Kraj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0AEF043-182B-419C-A6BD-2E1FF6F1B57B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831083" y="777004"/>
            <a:ext cx="290557" cy="0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B0888145-4D3A-4A2B-AD0B-B53F94952DC7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096000" y="657881"/>
            <a:ext cx="4058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i="1" dirty="0"/>
              <a:t>ČR</a:t>
            </a:r>
          </a:p>
        </p:txBody>
      </p:sp>
      <p:sp>
        <p:nvSpPr>
          <p:cNvPr id="21" name="TextBox 3">
            <a:extLst>
              <a:ext uri="{FF2B5EF4-FFF2-40B4-BE49-F238E27FC236}">
                <a16:creationId xmlns:a16="http://schemas.microsoft.com/office/drawing/2014/main" id="{FCE0B97D-4439-4640-84AF-FE88D63550A5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2102265" y="636686"/>
            <a:ext cx="19800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b="1" dirty="0"/>
              <a:t>Karlovarský kraj</a:t>
            </a:r>
          </a:p>
        </p:txBody>
      </p:sp>
      <p:sp>
        <p:nvSpPr>
          <p:cNvPr id="23" name="TextBox 13">
            <a:extLst>
              <a:ext uri="{FF2B5EF4-FFF2-40B4-BE49-F238E27FC236}">
                <a16:creationId xmlns:a16="http://schemas.microsoft.com/office/drawing/2014/main" id="{D6E2622F-49FC-4FBC-81ED-6803DF0BC826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458445" y="3890933"/>
            <a:ext cx="25186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b="1" dirty="0"/>
              <a:t>Královéhradecký kraj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6662824" y="1042122"/>
            <a:ext cx="5377132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 krajích s velmi nízkými</a:t>
            </a:r>
            <a:r>
              <a:rPr kumimoji="0" lang="cs-CZ" sz="2200" b="1" i="0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počty nově potvrzených případů mohou některé ukazatele oscilovat v důsledku změn v nízkých počtech potvrzených případů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 KVK nyní takto registrujeme R &gt; 1, situace bude denně sledována. 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Obrázek 3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75226" y="934880"/>
            <a:ext cx="11027664" cy="5847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42377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1939900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Relativní pozitivita testů s diagnostickou/epidemiologickou indikací za 7 dní: </a:t>
            </a:r>
            <a:br>
              <a:rPr lang="pl-PL" sz="2000" dirty="0">
                <a:latin typeface="+mn-lt"/>
              </a:rPr>
            </a:br>
            <a:r>
              <a:rPr lang="pl-PL" sz="2000" dirty="0">
                <a:latin typeface="+mn-lt"/>
              </a:rPr>
              <a:t>srovnání krajů k </a:t>
            </a:r>
            <a:r>
              <a:rPr lang="cs-CZ" sz="2000" dirty="0">
                <a:latin typeface="+mn-lt"/>
              </a:rPr>
              <a:t>1</a:t>
            </a:r>
            <a:r>
              <a:rPr lang="pl-PL" sz="2000" dirty="0">
                <a:latin typeface="+mn-lt"/>
              </a:rPr>
              <a:t>.5.</a:t>
            </a:r>
            <a:endParaRPr lang="cs-CZ" sz="2000" dirty="0">
              <a:latin typeface="+mn-lt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/>
        </p:nvSpPr>
        <p:spPr>
          <a:xfrm>
            <a:off x="8590239" y="2419195"/>
            <a:ext cx="3489956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ativní pozitivita diagnosticky a klinicky indikovaných testů a testů z epidemiologické indikace  klesá v čase téměř ve všech regionech. Výjimkou je kraj Zlínský, který v tomto</a:t>
            </a:r>
            <a:r>
              <a:rPr kumimoji="0" lang="cs-CZ" sz="20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ukazateli stagnuje. Zvýšené hodnoty vykazují kraje Jihočeský a Olomoucký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821" y="830580"/>
            <a:ext cx="8698992" cy="6027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9427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1939900" cy="681036"/>
          </a:xfrm>
        </p:spPr>
        <p:txBody>
          <a:bodyPr>
            <a:normAutofit/>
          </a:bodyPr>
          <a:lstStyle/>
          <a:p>
            <a:r>
              <a:rPr lang="pl-PL" sz="2000" dirty="0"/>
              <a:t>Nově </a:t>
            </a:r>
            <a:r>
              <a:rPr lang="pl-PL" sz="2000" dirty="0" smtClean="0"/>
              <a:t>diagnostikovaní symptomatičtí pacienti za </a:t>
            </a:r>
            <a:r>
              <a:rPr lang="pl-PL" sz="2000" dirty="0"/>
              <a:t>7 dní na 100 000 obyvatel: </a:t>
            </a:r>
            <a:br>
              <a:rPr lang="pl-PL" sz="2000" dirty="0"/>
            </a:br>
            <a:r>
              <a:rPr lang="pl-PL" sz="2000" dirty="0"/>
              <a:t>srovnání krajů k </a:t>
            </a:r>
            <a:r>
              <a:rPr lang="cs-CZ" sz="2000" dirty="0"/>
              <a:t>1</a:t>
            </a:r>
            <a:r>
              <a:rPr lang="pl-PL" sz="2000" dirty="0"/>
              <a:t>.5.</a:t>
            </a:r>
            <a:endParaRPr lang="cs-CZ" sz="2000" dirty="0">
              <a:latin typeface="+mn-lt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6D1E585-3993-416C-AF95-42C197FE79D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764747" y="853052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172D653-29BB-46C3-83F2-8221BA928DD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933483" y="789163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C80593F-C2D7-48EC-9C6F-8A8D60EF292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996648" y="846909"/>
            <a:ext cx="180000" cy="180000"/>
          </a:xfrm>
          <a:prstGeom prst="rect">
            <a:avLst/>
          </a:prstGeom>
          <a:solidFill>
            <a:srgbClr val="4010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8D4B11B-8579-446E-91AF-8288C6B4363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128205" y="783020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DAB7E79-4343-403B-91F5-3309618E2A10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152409" y="840381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A0394B2-B166-4AEA-96C1-E480F847DCB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7303016" y="776492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5.2021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7DA604F-A1A3-44C2-A908-EC9EB9AC534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4919" y="3839117"/>
            <a:ext cx="8050306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CAF076D9-A235-470C-9BC7-C9DD9FE8D7FC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61452662"/>
              </p:ext>
            </p:extLst>
          </p:nvPr>
        </p:nvGraphicFramePr>
        <p:xfrm>
          <a:off x="4614696" y="1146877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8B0B522C-5BE7-400C-9C38-FFD78A223EB9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42312896"/>
              </p:ext>
            </p:extLst>
          </p:nvPr>
        </p:nvGraphicFramePr>
        <p:xfrm>
          <a:off x="224224" y="1146877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/>
        </p:nvSpPr>
        <p:spPr>
          <a:xfrm>
            <a:off x="8505930" y="2015013"/>
            <a:ext cx="3489956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nově diagnostikovaných a symptomatických případů klesá v čase ve všech regionech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000" b="1" dirty="0">
              <a:solidFill>
                <a:srgbClr val="0000FF"/>
              </a:solidFill>
              <a:latin typeface="Arial" panose="020B060402020202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 tomto indikátoru jsou patrné velké rozdíly mezi regiony. – Nejvyšší hodnota přetrvává ve Zlínském a dále</a:t>
            </a:r>
            <a:r>
              <a:rPr kumimoji="0" lang="cs-CZ" sz="20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 Jihočeském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aji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79863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Nové případy za 7 dní na 100 000 obyvatel: 20 okresů s nejvyššími hodnotami k </a:t>
            </a:r>
            <a:r>
              <a:rPr lang="en-US" sz="2000" dirty="0"/>
              <a:t>1</a:t>
            </a:r>
            <a:r>
              <a:rPr lang="pl-PL" sz="2000" dirty="0"/>
              <a:t>.</a:t>
            </a:r>
            <a:r>
              <a:rPr lang="en-US" sz="2000" dirty="0"/>
              <a:t>5</a:t>
            </a:r>
            <a:r>
              <a:rPr lang="pl-PL" sz="2000" dirty="0"/>
              <a:t>.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5622432"/>
              </p:ext>
            </p:ext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1" name="TextovéPole 6">
            <a:extLst>
              <a:ext uri="{FF2B5EF4-FFF2-40B4-BE49-F238E27FC236}">
                <a16:creationId xmlns:a16="http://schemas.microsoft.com/office/drawing/2014/main" id="{918DA6A8-9969-4BED-914D-C3985152945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986542" y="1071694"/>
            <a:ext cx="26981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ference za posledních 7 dní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1E87494-144D-41F5-A285-4B3722EAA693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892437587"/>
              </p:ext>
            </p:extLst>
          </p:nvPr>
        </p:nvGraphicFramePr>
        <p:xfrm>
          <a:off x="5028522" y="1439333"/>
          <a:ext cx="379318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8" name="TextovéPole 6">
            <a:extLst>
              <a:ext uri="{FF2B5EF4-FFF2-40B4-BE49-F238E27FC236}">
                <a16:creationId xmlns:a16="http://schemas.microsoft.com/office/drawing/2014/main" id="{918DA6A8-9969-4BED-914D-C3985152945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348849" y="945486"/>
            <a:ext cx="32410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případů za 7 dní/100 tis. obyv.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/>
        </p:nvSpPr>
        <p:spPr>
          <a:xfrm>
            <a:off x="8505930" y="2337743"/>
            <a:ext cx="3489956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zi okresy s nejvyšší virovou zátěží v populaci přetrvávají zejména Zlín, Vsetín, Č. Budějovice a Prachatice.</a:t>
            </a:r>
            <a:r>
              <a:rPr kumimoji="0" lang="cs-CZ" sz="20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000" b="1" baseline="0" dirty="0">
              <a:solidFill>
                <a:srgbClr val="0000FF"/>
              </a:solidFill>
              <a:latin typeface="Arial" panose="020B060402020202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všech těchto okresů ale zátěž postupně klesá v čase, hodnota R není vyšší než 1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10430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Přehled okresů s poteniálně rizikovými epidemickými hodnotami</a:t>
            </a:r>
            <a:endParaRPr lang="cs-CZ" sz="2000" dirty="0">
              <a:latin typeface="+mn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A9CE990-B476-48D3-9B51-BD51368C6C0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1925" y="5726481"/>
            <a:ext cx="180000" cy="180000"/>
          </a:xfrm>
          <a:prstGeom prst="rect">
            <a:avLst/>
          </a:prstGeom>
          <a:solidFill>
            <a:srgbClr val="D0CC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4424877-C36B-476A-80A2-75A84432AC9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1925" y="6098636"/>
            <a:ext cx="180000" cy="180000"/>
          </a:xfrm>
          <a:prstGeom prst="rect">
            <a:avLst/>
          </a:prstGeom>
          <a:solidFill>
            <a:srgbClr val="59535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AC83000-BE90-410D-BCEB-3BEC6AE0555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61925" y="6498779"/>
            <a:ext cx="180000" cy="18000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EB73E81-14CA-4808-AA44-F71F2F14BCB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27650" y="5631815"/>
            <a:ext cx="9249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Okresy spadající s vysokými 7denními novými počty pozitivních a R</a:t>
            </a:r>
            <a:r>
              <a:rPr lang="en-US" dirty="0"/>
              <a:t>&lt;0.95</a:t>
            </a:r>
            <a:endParaRPr lang="cs-CZ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9557CE4-9D86-46E6-B551-9FD22B69FA0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27650" y="6030792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≥0.95, ale </a:t>
            </a:r>
            <a:r>
              <a:rPr lang="en-US" dirty="0" err="1"/>
              <a:t>nespad</a:t>
            </a:r>
            <a:r>
              <a:rPr lang="cs-CZ" dirty="0"/>
              <a:t>á</a:t>
            </a:r>
            <a:r>
              <a:rPr lang="en-US" dirty="0"/>
              <a:t> </a:t>
            </a:r>
            <a:r>
              <a:rPr lang="en-US" dirty="0" err="1"/>
              <a:t>mezi</a:t>
            </a:r>
            <a:r>
              <a:rPr lang="cs-CZ" dirty="0"/>
              <a:t> 20 okresů s nejvyššími 7denními novými počty pozitivních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C20F612-C5CB-4791-BE1D-DD2B112E2AD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27650" y="6400124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R≥0.95</a:t>
            </a:r>
            <a:r>
              <a:rPr lang="cs-CZ" b="1" dirty="0">
                <a:solidFill>
                  <a:srgbClr val="FF0000"/>
                </a:solidFill>
              </a:rPr>
              <a:t> a </a:t>
            </a:r>
            <a:r>
              <a:rPr lang="en-US" b="1" dirty="0" err="1">
                <a:solidFill>
                  <a:srgbClr val="FF0000"/>
                </a:solidFill>
              </a:rPr>
              <a:t>spad</a:t>
            </a:r>
            <a:r>
              <a:rPr lang="cs-CZ" b="1" dirty="0">
                <a:solidFill>
                  <a:srgbClr val="FF0000"/>
                </a:solidFill>
              </a:rPr>
              <a:t>á</a:t>
            </a:r>
            <a:r>
              <a:rPr lang="en-US" b="1" dirty="0">
                <a:solidFill>
                  <a:srgbClr val="FF0000"/>
                </a:solidFill>
              </a:rPr>
              <a:t> </a:t>
            </a:r>
            <a:r>
              <a:rPr lang="en-US" b="1" dirty="0" err="1">
                <a:solidFill>
                  <a:srgbClr val="FF0000"/>
                </a:solidFill>
              </a:rPr>
              <a:t>mezi</a:t>
            </a:r>
            <a:r>
              <a:rPr lang="cs-CZ" b="1" dirty="0">
                <a:solidFill>
                  <a:srgbClr val="FF0000"/>
                </a:solidFill>
              </a:rPr>
              <a:t> 20 okresů s nejvyššími 7denními novými počty pozitivních 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AC43C3E8-C5A1-4534-9DCC-3A966C17E21F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18014367"/>
              </p:ext>
            </p:extLst>
          </p:nvPr>
        </p:nvGraphicFramePr>
        <p:xfrm>
          <a:off x="9545982" y="657225"/>
          <a:ext cx="1910022" cy="6200775"/>
        </p:xfrm>
        <a:graphic>
          <a:graphicData uri="http://schemas.openxmlformats.org/drawingml/2006/table">
            <a:tbl>
              <a:tblPr/>
              <a:tblGrid>
                <a:gridCol w="1910022">
                  <a:extLst>
                    <a:ext uri="{9D8B030D-6E8A-4147-A177-3AD203B41FA5}">
                      <a16:colId xmlns:a16="http://schemas.microsoft.com/office/drawing/2014/main" val="2025806962"/>
                    </a:ext>
                  </a:extLst>
                </a:gridCol>
              </a:tblGrid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0602827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ý Jičín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8937619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ísek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281902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4627683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Vsetín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0800842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Vyškov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067573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rava-město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209254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eroun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5444811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Teplice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2765409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achatice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6919642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lansko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0409603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100" b="0" i="0" u="none" strike="noStrike" dirty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Karlovy Vary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6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9952731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100" b="0" i="0" u="none" strike="noStrike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Tachov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6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686122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100" b="0" i="0" u="none" strike="noStrike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Rychnov nad Kněžnou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6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4657457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100" b="0" i="0" u="none" strike="noStrike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Sokolov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6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4916323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100" b="0" i="0" u="none" strike="noStrike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Havlíčkův Brod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6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3723995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100" b="0" i="0" u="none" strike="noStrike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Chomutov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6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4436331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100" b="0" i="0" u="none" strike="noStrike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Hradec Králové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6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254580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100" b="0" i="0" u="none" strike="noStrike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Brno-město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6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5127035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100" b="0" i="0" u="none" strike="noStrike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Litoměřice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6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7664073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100" b="0" i="0" u="none" strike="noStrike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Semily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6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3469898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100" b="0" i="0" u="none" strike="noStrike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Karviná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6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1857957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100" b="0" i="0" u="none" strike="noStrike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Jičín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6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1487794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100" b="0" i="0" u="none" strike="noStrike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Nymburk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6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9526277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100" b="0" i="0" u="none" strike="noStrike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Strakonice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6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88980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100" b="0" i="0" u="none" strike="noStrike" dirty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Opava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63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1674285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100" b="0" i="0" u="none" strike="noStrike" dirty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Český Krumlov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2683466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100" b="0" i="0" u="none" strike="noStrike" dirty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Žďár nad Sázavou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1703688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100" b="0" i="0" u="none" strike="noStrike" dirty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Ústí nad Labem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3096140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100" b="0" i="0" u="none" strike="noStrike" dirty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Most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1854157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100" b="0" i="0" u="none" strike="noStrike" dirty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Louny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8522179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100" b="0" i="0" u="none" strike="noStrike" dirty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Hodonín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9572064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100" b="0" i="0" u="none" strike="noStrike" dirty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Jihlava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4382046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100" b="0" i="0" u="none" strike="noStrike" dirty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České Budějovice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671658"/>
                  </a:ext>
                </a:extLst>
              </a:tr>
              <a:tr h="117603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100" b="0" i="0" u="none" strike="noStrike" dirty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Znojmo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1726476"/>
                  </a:ext>
                </a:extLst>
              </a:tr>
            </a:tbl>
          </a:graphicData>
        </a:graphic>
      </p:graphicFrame>
      <p:pic>
        <p:nvPicPr>
          <p:cNvPr id="4" name="Picture 3" descr="Map&#10;&#10;Description automatically generated">
            <a:extLst>
              <a:ext uri="{FF2B5EF4-FFF2-40B4-BE49-F238E27FC236}">
                <a16:creationId xmlns:a16="http://schemas.microsoft.com/office/drawing/2014/main" id="{2CB89801-1078-4BE9-9739-EBE8242C522A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37" r="9909"/>
          <a:stretch/>
        </p:blipFill>
        <p:spPr>
          <a:xfrm>
            <a:off x="161925" y="710682"/>
            <a:ext cx="7760026" cy="4912772"/>
          </a:xfrm>
          <a:prstGeom prst="rect">
            <a:avLst/>
          </a:prstGeom>
        </p:spPr>
      </p:pic>
      <p:sp>
        <p:nvSpPr>
          <p:cNvPr id="3" name="TextovéPole 2"/>
          <p:cNvSpPr txBox="1"/>
          <p:nvPr/>
        </p:nvSpPr>
        <p:spPr>
          <a:xfrm>
            <a:off x="5803528" y="1050369"/>
            <a:ext cx="332254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dirty="0" smtClean="0"/>
              <a:t>Hodnota R převýšila hranici 1,0 v okrese Karlovy Vary: jde o důsledek zachyceného lokálního ohniska (věznice)</a:t>
            </a:r>
            <a:endParaRPr lang="cs-CZ" sz="1400" b="1" dirty="0"/>
          </a:p>
        </p:txBody>
      </p:sp>
    </p:spTree>
    <p:extLst>
      <p:ext uri="{BB962C8B-B14F-4D97-AF65-F5344CB8AC3E}">
        <p14:creationId xmlns:p14="http://schemas.microsoft.com/office/powerpoint/2010/main" val="18368719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Prováděné testy a jejich pozitivita 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74709652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F186E489-6845-448B-BC3C-B4E1997D2DE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9131716" cy="576000"/>
          </a:xfrm>
        </p:spPr>
        <p:txBody>
          <a:bodyPr/>
          <a:lstStyle/>
          <a:p>
            <a:r>
              <a:rPr lang="cs-CZ" dirty="0"/>
              <a:t>Počet provedených a vykázaných AG testů v ČR 1. 2. – 30. </a:t>
            </a:r>
            <a:r>
              <a:rPr lang="en-US" dirty="0"/>
              <a:t>4</a:t>
            </a:r>
            <a:r>
              <a:rPr lang="cs-CZ" dirty="0"/>
              <a:t>. 2021</a:t>
            </a:r>
          </a:p>
        </p:txBody>
      </p:sp>
      <p:graphicFrame>
        <p:nvGraphicFramePr>
          <p:cNvPr id="6" name="Chart 4">
            <a:extLst>
              <a:ext uri="{FF2B5EF4-FFF2-40B4-BE49-F238E27FC236}">
                <a16:creationId xmlns:a16="http://schemas.microsoft.com/office/drawing/2014/main" id="{12707528-8D16-4544-A281-753E5E83B9C7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92075" y="3171568"/>
          <a:ext cx="11877772" cy="36868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35" name="TextovéPole 34">
            <a:extLst>
              <a:ext uri="{FF2B5EF4-FFF2-40B4-BE49-F238E27FC236}">
                <a16:creationId xmlns:a16="http://schemas.microsoft.com/office/drawing/2014/main" id="{9F7EB234-FAA1-4E79-B1D4-09B44196FE8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38941" y="807449"/>
            <a:ext cx="108811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provedených AG testů silně narostl zejména po 1.3. 2021 a dále je v čase stabilní. </a:t>
            </a:r>
          </a:p>
        </p:txBody>
      </p:sp>
      <p:sp>
        <p:nvSpPr>
          <p:cNvPr id="36" name="Zahnutá šipka nahoru 25">
            <a:extLst>
              <a:ext uri="{FF2B5EF4-FFF2-40B4-BE49-F238E27FC236}">
                <a16:creationId xmlns:a16="http://schemas.microsoft.com/office/drawing/2014/main" id="{234CC73F-E009-4BE1-95D0-138BD2AB377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997232" y="2702359"/>
            <a:ext cx="201168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Zahnutá šipka nahoru 25">
            <a:extLst>
              <a:ext uri="{FF2B5EF4-FFF2-40B4-BE49-F238E27FC236}">
                <a16:creationId xmlns:a16="http://schemas.microsoft.com/office/drawing/2014/main" id="{BFC87D26-CD8F-4C5F-9ADF-4D695F01515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067842" y="2740066"/>
            <a:ext cx="201168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Zahnutá šipka nahoru 25">
            <a:extLst>
              <a:ext uri="{FF2B5EF4-FFF2-40B4-BE49-F238E27FC236}">
                <a16:creationId xmlns:a16="http://schemas.microsoft.com/office/drawing/2014/main" id="{715AE362-0C45-4C5D-9D18-4BA83228C96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120700" y="2702359"/>
            <a:ext cx="2011680" cy="497840"/>
          </a:xfrm>
          <a:prstGeom prst="curvedUpArrow">
            <a:avLst/>
          </a:prstGeom>
          <a:solidFill>
            <a:srgbClr val="305983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Zahnutá šipka nahoru 25">
            <a:extLst>
              <a:ext uri="{FF2B5EF4-FFF2-40B4-BE49-F238E27FC236}">
                <a16:creationId xmlns:a16="http://schemas.microsoft.com/office/drawing/2014/main" id="{0C990C7D-C129-4DE4-9DF3-B466C23CEFB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8153921" y="2702446"/>
            <a:ext cx="2011680" cy="497840"/>
          </a:xfrm>
          <a:prstGeom prst="curvedUpArrow">
            <a:avLst/>
          </a:prstGeom>
          <a:solidFill>
            <a:srgbClr val="305983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F816139-797E-4D7D-B7CA-C1D0C58F362B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821723" y="1368526"/>
          <a:ext cx="10515598" cy="1318260"/>
        </p:xfrm>
        <a:graphic>
          <a:graphicData uri="http://schemas.openxmlformats.org/drawingml/2006/table">
            <a:tbl>
              <a:tblPr/>
              <a:tblGrid>
                <a:gridCol w="784746">
                  <a:extLst>
                    <a:ext uri="{9D8B030D-6E8A-4147-A177-3AD203B41FA5}">
                      <a16:colId xmlns:a16="http://schemas.microsoft.com/office/drawing/2014/main" val="2858040347"/>
                    </a:ext>
                  </a:extLst>
                </a:gridCol>
                <a:gridCol w="784746">
                  <a:extLst>
                    <a:ext uri="{9D8B030D-6E8A-4147-A177-3AD203B41FA5}">
                      <a16:colId xmlns:a16="http://schemas.microsoft.com/office/drawing/2014/main" val="277427838"/>
                    </a:ext>
                  </a:extLst>
                </a:gridCol>
                <a:gridCol w="627797">
                  <a:extLst>
                    <a:ext uri="{9D8B030D-6E8A-4147-A177-3AD203B41FA5}">
                      <a16:colId xmlns:a16="http://schemas.microsoft.com/office/drawing/2014/main" val="2789907185"/>
                    </a:ext>
                  </a:extLst>
                </a:gridCol>
                <a:gridCol w="627797">
                  <a:extLst>
                    <a:ext uri="{9D8B030D-6E8A-4147-A177-3AD203B41FA5}">
                      <a16:colId xmlns:a16="http://schemas.microsoft.com/office/drawing/2014/main" val="2660301241"/>
                    </a:ext>
                  </a:extLst>
                </a:gridCol>
                <a:gridCol w="784746">
                  <a:extLst>
                    <a:ext uri="{9D8B030D-6E8A-4147-A177-3AD203B41FA5}">
                      <a16:colId xmlns:a16="http://schemas.microsoft.com/office/drawing/2014/main" val="3075066792"/>
                    </a:ext>
                  </a:extLst>
                </a:gridCol>
                <a:gridCol w="627797">
                  <a:extLst>
                    <a:ext uri="{9D8B030D-6E8A-4147-A177-3AD203B41FA5}">
                      <a16:colId xmlns:a16="http://schemas.microsoft.com/office/drawing/2014/main" val="2936262364"/>
                    </a:ext>
                  </a:extLst>
                </a:gridCol>
                <a:gridCol w="627797">
                  <a:extLst>
                    <a:ext uri="{9D8B030D-6E8A-4147-A177-3AD203B41FA5}">
                      <a16:colId xmlns:a16="http://schemas.microsoft.com/office/drawing/2014/main" val="4153083990"/>
                    </a:ext>
                  </a:extLst>
                </a:gridCol>
                <a:gridCol w="784746">
                  <a:extLst>
                    <a:ext uri="{9D8B030D-6E8A-4147-A177-3AD203B41FA5}">
                      <a16:colId xmlns:a16="http://schemas.microsoft.com/office/drawing/2014/main" val="328389790"/>
                    </a:ext>
                  </a:extLst>
                </a:gridCol>
                <a:gridCol w="627797">
                  <a:extLst>
                    <a:ext uri="{9D8B030D-6E8A-4147-A177-3AD203B41FA5}">
                      <a16:colId xmlns:a16="http://schemas.microsoft.com/office/drawing/2014/main" val="3158500584"/>
                    </a:ext>
                  </a:extLst>
                </a:gridCol>
                <a:gridCol w="627797">
                  <a:extLst>
                    <a:ext uri="{9D8B030D-6E8A-4147-A177-3AD203B41FA5}">
                      <a16:colId xmlns:a16="http://schemas.microsoft.com/office/drawing/2014/main" val="3652100190"/>
                    </a:ext>
                  </a:extLst>
                </a:gridCol>
                <a:gridCol w="784746">
                  <a:extLst>
                    <a:ext uri="{9D8B030D-6E8A-4147-A177-3AD203B41FA5}">
                      <a16:colId xmlns:a16="http://schemas.microsoft.com/office/drawing/2014/main" val="3088191732"/>
                    </a:ext>
                  </a:extLst>
                </a:gridCol>
                <a:gridCol w="627797">
                  <a:extLst>
                    <a:ext uri="{9D8B030D-6E8A-4147-A177-3AD203B41FA5}">
                      <a16:colId xmlns:a16="http://schemas.microsoft.com/office/drawing/2014/main" val="2300124037"/>
                    </a:ext>
                  </a:extLst>
                </a:gridCol>
                <a:gridCol w="627797">
                  <a:extLst>
                    <a:ext uri="{9D8B030D-6E8A-4147-A177-3AD203B41FA5}">
                      <a16:colId xmlns:a16="http://schemas.microsoft.com/office/drawing/2014/main" val="3981172171"/>
                    </a:ext>
                  </a:extLst>
                </a:gridCol>
                <a:gridCol w="784746">
                  <a:extLst>
                    <a:ext uri="{9D8B030D-6E8A-4147-A177-3AD203B41FA5}">
                      <a16:colId xmlns:a16="http://schemas.microsoft.com/office/drawing/2014/main" val="1293711970"/>
                    </a:ext>
                  </a:extLst>
                </a:gridCol>
                <a:gridCol w="784746">
                  <a:extLst>
                    <a:ext uri="{9D8B030D-6E8A-4147-A177-3AD203B41FA5}">
                      <a16:colId xmlns:a16="http://schemas.microsoft.com/office/drawing/2014/main" val="3485570029"/>
                    </a:ext>
                  </a:extLst>
                </a:gridCol>
              </a:tblGrid>
              <a:tr h="433977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 provedených testů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 provedených testů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 provedených testů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 provedených testů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 provedených testů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6341471"/>
                  </a:ext>
                </a:extLst>
              </a:tr>
              <a:tr h="240357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7. 3.–2. 4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. 4.–9. 4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. 4.–16. 4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7. 4.–23. 4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. 4.–30. 4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19455309"/>
                  </a:ext>
                </a:extLst>
              </a:tr>
              <a:tr h="267063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 870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2 551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2 266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0 137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 647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8775512"/>
                  </a:ext>
                </a:extLst>
              </a:tr>
              <a:tr h="260386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3,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6,4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,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9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01620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35549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154132" y="1910823"/>
            <a:ext cx="11820525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ůměrný počet nově prokázaných případů onemocnění kles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 2 000 denně. Stále klesá relativní pozitivita testů. Významný je i pokles nově nakažených potenciálně zranitelných skupin obyvatel. Reprodukční číslo osciluje mezi 0,70 – 0,90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200" b="1" dirty="0">
              <a:solidFill>
                <a:srgbClr val="0000FF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200" b="1" dirty="0">
              <a:solidFill>
                <a:srgbClr val="0000FF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 je nadále patrný u všech věkových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tegorií dětí i dospělých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339526" y="134663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 na populační úrovni prokazatelně stále zpomaluje, rovněž klesá zátěž nemocnic</a:t>
            </a:r>
          </a:p>
        </p:txBody>
      </p:sp>
      <p:sp>
        <p:nvSpPr>
          <p:cNvPr id="10" name="Šipka dolů 9"/>
          <p:cNvSpPr/>
          <p:nvPr/>
        </p:nvSpPr>
        <p:spPr>
          <a:xfrm>
            <a:off x="5339525" y="4160036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339525" y="5621448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32744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F186E489-6845-448B-BC3C-B4E1997D2DE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8789970" cy="576000"/>
          </a:xfrm>
        </p:spPr>
        <p:txBody>
          <a:bodyPr/>
          <a:lstStyle/>
          <a:p>
            <a:r>
              <a:rPr lang="cs-CZ" dirty="0"/>
              <a:t>Počet provedených a vykázaných PCR testů v ČR 1. 2. – 30. </a:t>
            </a:r>
            <a:r>
              <a:rPr lang="en-US" dirty="0"/>
              <a:t>4</a:t>
            </a:r>
            <a:r>
              <a:rPr lang="cs-CZ" dirty="0"/>
              <a:t>. 2021</a:t>
            </a:r>
          </a:p>
        </p:txBody>
      </p:sp>
      <p:graphicFrame>
        <p:nvGraphicFramePr>
          <p:cNvPr id="6" name="Chart 4">
            <a:extLst>
              <a:ext uri="{FF2B5EF4-FFF2-40B4-BE49-F238E27FC236}">
                <a16:creationId xmlns:a16="http://schemas.microsoft.com/office/drawing/2014/main" id="{12707528-8D16-4544-A281-753E5E83B9C7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92075" y="3171568"/>
          <a:ext cx="11877772" cy="36868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35" name="TextovéPole 34">
            <a:extLst>
              <a:ext uri="{FF2B5EF4-FFF2-40B4-BE49-F238E27FC236}">
                <a16:creationId xmlns:a16="http://schemas.microsoft.com/office/drawing/2014/main" id="{9F7EB234-FAA1-4E79-B1D4-09B44196FE8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92075" y="755977"/>
            <a:ext cx="117331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provedených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CR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estů postupně klesá – klesají klinicky indikované testy. </a:t>
            </a:r>
          </a:p>
        </p:txBody>
      </p:sp>
      <p:sp>
        <p:nvSpPr>
          <p:cNvPr id="36" name="Zahnutá šipka nahoru 25">
            <a:extLst>
              <a:ext uri="{FF2B5EF4-FFF2-40B4-BE49-F238E27FC236}">
                <a16:creationId xmlns:a16="http://schemas.microsoft.com/office/drawing/2014/main" id="{234CC73F-E009-4BE1-95D0-138BD2AB377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997232" y="2628470"/>
            <a:ext cx="2011680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Zahnutá šipka nahoru 25">
            <a:extLst>
              <a:ext uri="{FF2B5EF4-FFF2-40B4-BE49-F238E27FC236}">
                <a16:creationId xmlns:a16="http://schemas.microsoft.com/office/drawing/2014/main" id="{BFC87D26-CD8F-4C5F-9ADF-4D695F01515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067842" y="2628470"/>
            <a:ext cx="2011680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Zahnutá šipka nahoru 25">
            <a:extLst>
              <a:ext uri="{FF2B5EF4-FFF2-40B4-BE49-F238E27FC236}">
                <a16:creationId xmlns:a16="http://schemas.microsoft.com/office/drawing/2014/main" id="{715AE362-0C45-4C5D-9D18-4BA83228C96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120700" y="2628470"/>
            <a:ext cx="2011680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Zahnutá šipka nahoru 25">
            <a:extLst>
              <a:ext uri="{FF2B5EF4-FFF2-40B4-BE49-F238E27FC236}">
                <a16:creationId xmlns:a16="http://schemas.microsoft.com/office/drawing/2014/main" id="{0C990C7D-C129-4DE4-9DF3-B466C23CEFB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8153921" y="2628557"/>
            <a:ext cx="2011680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9F2C0711-8C50-4456-B704-D724440C868B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838203" y="1300807"/>
          <a:ext cx="10515594" cy="1318260"/>
        </p:xfrm>
        <a:graphic>
          <a:graphicData uri="http://schemas.openxmlformats.org/drawingml/2006/table">
            <a:tbl>
              <a:tblPr/>
              <a:tblGrid>
                <a:gridCol w="764109">
                  <a:extLst>
                    <a:ext uri="{9D8B030D-6E8A-4147-A177-3AD203B41FA5}">
                      <a16:colId xmlns:a16="http://schemas.microsoft.com/office/drawing/2014/main" val="2943782384"/>
                    </a:ext>
                  </a:extLst>
                </a:gridCol>
                <a:gridCol w="764109">
                  <a:extLst>
                    <a:ext uri="{9D8B030D-6E8A-4147-A177-3AD203B41FA5}">
                      <a16:colId xmlns:a16="http://schemas.microsoft.com/office/drawing/2014/main" val="2443191312"/>
                    </a:ext>
                  </a:extLst>
                </a:gridCol>
                <a:gridCol w="611287">
                  <a:extLst>
                    <a:ext uri="{9D8B030D-6E8A-4147-A177-3AD203B41FA5}">
                      <a16:colId xmlns:a16="http://schemas.microsoft.com/office/drawing/2014/main" val="2330795336"/>
                    </a:ext>
                  </a:extLst>
                </a:gridCol>
                <a:gridCol w="611287">
                  <a:extLst>
                    <a:ext uri="{9D8B030D-6E8A-4147-A177-3AD203B41FA5}">
                      <a16:colId xmlns:a16="http://schemas.microsoft.com/office/drawing/2014/main" val="1947145909"/>
                    </a:ext>
                  </a:extLst>
                </a:gridCol>
                <a:gridCol w="764109">
                  <a:extLst>
                    <a:ext uri="{9D8B030D-6E8A-4147-A177-3AD203B41FA5}">
                      <a16:colId xmlns:a16="http://schemas.microsoft.com/office/drawing/2014/main" val="1647294438"/>
                    </a:ext>
                  </a:extLst>
                </a:gridCol>
                <a:gridCol w="887822">
                  <a:extLst>
                    <a:ext uri="{9D8B030D-6E8A-4147-A177-3AD203B41FA5}">
                      <a16:colId xmlns:a16="http://schemas.microsoft.com/office/drawing/2014/main" val="1932661436"/>
                    </a:ext>
                  </a:extLst>
                </a:gridCol>
                <a:gridCol w="611287">
                  <a:extLst>
                    <a:ext uri="{9D8B030D-6E8A-4147-A177-3AD203B41FA5}">
                      <a16:colId xmlns:a16="http://schemas.microsoft.com/office/drawing/2014/main" val="2923486181"/>
                    </a:ext>
                  </a:extLst>
                </a:gridCol>
                <a:gridCol w="764109">
                  <a:extLst>
                    <a:ext uri="{9D8B030D-6E8A-4147-A177-3AD203B41FA5}">
                      <a16:colId xmlns:a16="http://schemas.microsoft.com/office/drawing/2014/main" val="1190087719"/>
                    </a:ext>
                  </a:extLst>
                </a:gridCol>
                <a:gridCol w="611287">
                  <a:extLst>
                    <a:ext uri="{9D8B030D-6E8A-4147-A177-3AD203B41FA5}">
                      <a16:colId xmlns:a16="http://schemas.microsoft.com/office/drawing/2014/main" val="3272375174"/>
                    </a:ext>
                  </a:extLst>
                </a:gridCol>
                <a:gridCol w="611287">
                  <a:extLst>
                    <a:ext uri="{9D8B030D-6E8A-4147-A177-3AD203B41FA5}">
                      <a16:colId xmlns:a16="http://schemas.microsoft.com/office/drawing/2014/main" val="3833856480"/>
                    </a:ext>
                  </a:extLst>
                </a:gridCol>
                <a:gridCol w="764109">
                  <a:extLst>
                    <a:ext uri="{9D8B030D-6E8A-4147-A177-3AD203B41FA5}">
                      <a16:colId xmlns:a16="http://schemas.microsoft.com/office/drawing/2014/main" val="813885384"/>
                    </a:ext>
                  </a:extLst>
                </a:gridCol>
                <a:gridCol w="611287">
                  <a:extLst>
                    <a:ext uri="{9D8B030D-6E8A-4147-A177-3AD203B41FA5}">
                      <a16:colId xmlns:a16="http://schemas.microsoft.com/office/drawing/2014/main" val="3512162905"/>
                    </a:ext>
                  </a:extLst>
                </a:gridCol>
                <a:gridCol w="611287">
                  <a:extLst>
                    <a:ext uri="{9D8B030D-6E8A-4147-A177-3AD203B41FA5}">
                      <a16:colId xmlns:a16="http://schemas.microsoft.com/office/drawing/2014/main" val="2101902586"/>
                    </a:ext>
                  </a:extLst>
                </a:gridCol>
                <a:gridCol w="764109">
                  <a:extLst>
                    <a:ext uri="{9D8B030D-6E8A-4147-A177-3AD203B41FA5}">
                      <a16:colId xmlns:a16="http://schemas.microsoft.com/office/drawing/2014/main" val="1500996675"/>
                    </a:ext>
                  </a:extLst>
                </a:gridCol>
                <a:gridCol w="764109">
                  <a:extLst>
                    <a:ext uri="{9D8B030D-6E8A-4147-A177-3AD203B41FA5}">
                      <a16:colId xmlns:a16="http://schemas.microsoft.com/office/drawing/2014/main" val="1344922959"/>
                    </a:ext>
                  </a:extLst>
                </a:gridCol>
              </a:tblGrid>
              <a:tr h="421056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 provedených testů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 provedených testů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 provedených testů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 provedených testů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 provedených testů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7950285"/>
                  </a:ext>
                </a:extLst>
              </a:tr>
              <a:tr h="233200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7. 3.–2. 4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. 4.–9. 4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. 4.–16. 4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7. 4.–23. 4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. 4.–30. 4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1344928"/>
                  </a:ext>
                </a:extLst>
              </a:tr>
              <a:tr h="259111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048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36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186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464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85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54835683"/>
                  </a:ext>
                </a:extLst>
              </a:tr>
              <a:tr h="25263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3,4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,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,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1699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693656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diagnostické indikace </a:t>
            </a:r>
            <a:endParaRPr lang="cs-CZ" dirty="0">
              <a:latin typeface="+mj-lt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/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/>
        </p:nvSpPr>
        <p:spPr>
          <a:xfrm>
            <a:off x="1419199" y="2684353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/>
        </p:nvSpPr>
        <p:spPr>
          <a:xfrm>
            <a:off x="6598173" y="967356"/>
            <a:ext cx="501534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ativní pozitivita testů z diagnostické a klinické indikace </a:t>
            </a:r>
            <a:r>
              <a:rPr kumimoji="0" lang="cs-CZ" sz="20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dále klesá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= průkazný indikátor zpomalování šíření epidemie</a:t>
            </a:r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D6F07F46-7045-427C-9ADC-47588E77D8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5696568"/>
              </p:ext>
            </p:extLst>
          </p:nvPr>
        </p:nvGraphicFramePr>
        <p:xfrm>
          <a:off x="1419199" y="557234"/>
          <a:ext cx="3153360" cy="212491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2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6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pic>
        <p:nvPicPr>
          <p:cNvPr id="3" name="Obráze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2618" y="1494596"/>
            <a:ext cx="11010900" cy="5285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714314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epidemiologické indikace</a:t>
            </a:r>
            <a:endParaRPr lang="cs-CZ" dirty="0">
              <a:latin typeface="+mj-lt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/>
        </p:nvSpPr>
        <p:spPr>
          <a:xfrm>
            <a:off x="1311622" y="2672030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CA097BF6-68A1-4D50-803F-482D0AA07F45}"/>
              </a:ext>
            </a:extLst>
          </p:cNvPr>
          <p:cNvSpPr txBox="1"/>
          <p:nvPr/>
        </p:nvSpPr>
        <p:spPr>
          <a:xfrm>
            <a:off x="6176832" y="951932"/>
            <a:ext cx="501534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ativní pozitivita testů z epidemiologické indikace </a:t>
            </a:r>
            <a:r>
              <a:rPr kumimoji="0" lang="cs-CZ" sz="20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dále klesá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= průkazný indikátor zpomalování šíření epidemie</a:t>
            </a:r>
          </a:p>
        </p:txBody>
      </p:sp>
      <p:graphicFrame>
        <p:nvGraphicFramePr>
          <p:cNvPr id="9" name="Chart 4">
            <a:extLst>
              <a:ext uri="{FF2B5EF4-FFF2-40B4-BE49-F238E27FC236}">
                <a16:creationId xmlns:a16="http://schemas.microsoft.com/office/drawing/2014/main" id="{DDCE47EF-31FF-4F5A-A8E9-CB9CFC669B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99839150"/>
              </p:ext>
            </p:extLst>
          </p:nvPr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DB06220A-C978-42FE-829E-A80C9671E3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1328089"/>
              </p:ext>
            </p:extLst>
          </p:nvPr>
        </p:nvGraphicFramePr>
        <p:xfrm>
          <a:off x="1386640" y="547114"/>
          <a:ext cx="3153360" cy="212491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4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4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0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9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7052431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6371768" cy="576000"/>
          </a:xfrm>
        </p:spPr>
        <p:txBody>
          <a:bodyPr/>
          <a:lstStyle/>
          <a:p>
            <a:r>
              <a:rPr lang="cs-CZ" dirty="0"/>
              <a:t>Typologie pozitivních případů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F65D85B-1235-470B-97CB-79FE65D6B769}"/>
              </a:ext>
            </a:extLst>
          </p:cNvPr>
          <p:cNvCxnSpPr/>
          <p:nvPr/>
        </p:nvCxnSpPr>
        <p:spPr>
          <a:xfrm>
            <a:off x="6053207" y="809564"/>
            <a:ext cx="11502" cy="470883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5" name="Table 5">
            <a:extLst>
              <a:ext uri="{FF2B5EF4-FFF2-40B4-BE49-F238E27FC236}">
                <a16:creationId xmlns:a16="http://schemas.microsoft.com/office/drawing/2014/main" id="{07493F4D-3387-4744-BCEA-48B8A7FD5985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85832" y="547721"/>
          <a:ext cx="6043581" cy="5683390"/>
        </p:xfrm>
        <a:graphic>
          <a:graphicData uri="http://schemas.openxmlformats.org/drawingml/2006/table">
            <a:tbl>
              <a:tblPr/>
              <a:tblGrid>
                <a:gridCol w="741874">
                  <a:extLst>
                    <a:ext uri="{9D8B030D-6E8A-4147-A177-3AD203B41FA5}">
                      <a16:colId xmlns:a16="http://schemas.microsoft.com/office/drawing/2014/main" val="2010222896"/>
                    </a:ext>
                  </a:extLst>
                </a:gridCol>
                <a:gridCol w="269320">
                  <a:extLst>
                    <a:ext uri="{9D8B030D-6E8A-4147-A177-3AD203B41FA5}">
                      <a16:colId xmlns:a16="http://schemas.microsoft.com/office/drawing/2014/main" val="2380497939"/>
                    </a:ext>
                  </a:extLst>
                </a:gridCol>
                <a:gridCol w="179254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  <a:gridCol w="4853133">
                  <a:extLst>
                    <a:ext uri="{9D8B030D-6E8A-4147-A177-3AD203B41FA5}">
                      <a16:colId xmlns:a16="http://schemas.microsoft.com/office/drawing/2014/main" val="2930962357"/>
                    </a:ext>
                  </a:extLst>
                </a:gridCol>
              </a:tblGrid>
              <a:tr h="568339">
                <a:tc gridSpan="4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dobí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4383480"/>
                  </a:ext>
                </a:extLst>
              </a:tr>
              <a:tr h="568339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2.05.2021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mpd="sng">
                      <a:noFill/>
                      <a:prstDash val="solid"/>
                    </a:lnT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78555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504 nově pozitivních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066 nově pozitivníc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377 (74,8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PCR - symptomatičtí N = 4 618 (50,9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symptomatičtí N = 183 (36,3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N = 3 107 (34,3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asymptomatičtí N = 194 (38,5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celkem N = 127 (25,2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1 341 (14,8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symptomatičtí N = 85 (16,9%)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asymptomatičtí konfirmovaní PCR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42 (8,3%)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grpSp>
        <p:nvGrpSpPr>
          <p:cNvPr id="41" name="Skupina 40">
            <a:extLst>
              <a:ext uri="{FF2B5EF4-FFF2-40B4-BE49-F238E27FC236}">
                <a16:creationId xmlns:a16="http://schemas.microsoft.com/office/drawing/2014/main" id="{67E718B0-D805-4F0A-A2D9-973B2454D5CD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404159" y="1743959"/>
            <a:ext cx="920978" cy="3914685"/>
            <a:chOff x="404159" y="1866838"/>
            <a:chExt cx="920978" cy="3351365"/>
          </a:xfrm>
        </p:grpSpPr>
        <p:cxnSp>
          <p:nvCxnSpPr>
            <p:cNvPr id="47" name="Connector: Elbow 27">
              <a:extLst>
                <a:ext uri="{FF2B5EF4-FFF2-40B4-BE49-F238E27FC236}">
                  <a16:creationId xmlns:a16="http://schemas.microsoft.com/office/drawing/2014/main" id="{EE1BC2F1-8FA3-4CB7-A65D-01605921EF18}"/>
                </a:ext>
              </a:extLst>
            </p:cNvPr>
            <p:cNvCxnSpPr>
              <a:cxnSpLocks/>
              <a:stCxn id="57" idx="2"/>
              <a:endCxn id="60" idx="2"/>
            </p:cNvCxnSpPr>
            <p:nvPr>
              <p:custDataLst>
                <p:tags r:id="rId8"/>
              </p:custDataLst>
            </p:nvPr>
          </p:nvCxnSpPr>
          <p:spPr>
            <a:xfrm rot="10800000" flipH="1" flipV="1">
              <a:off x="404159" y="1920837"/>
              <a:ext cx="332076" cy="2154059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Connector: Elbow 28">
              <a:extLst>
                <a:ext uri="{FF2B5EF4-FFF2-40B4-BE49-F238E27FC236}">
                  <a16:creationId xmlns:a16="http://schemas.microsoft.com/office/drawing/2014/main" id="{0A91E232-C7CE-4D15-916A-0461B3434166}"/>
                </a:ext>
              </a:extLst>
            </p:cNvPr>
            <p:cNvCxnSpPr>
              <a:cxnSpLocks/>
              <a:stCxn id="76" idx="2"/>
              <a:endCxn id="58" idx="2"/>
            </p:cNvCxnSpPr>
            <p:nvPr>
              <p:custDataLst>
                <p:tags r:id="rId9"/>
              </p:custDataLst>
            </p:nvPr>
          </p:nvCxnSpPr>
          <p:spPr>
            <a:xfrm rot="10800000" flipH="1" flipV="1">
              <a:off x="736235" y="2433231"/>
              <a:ext cx="480902" cy="553998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Connector: Elbow 29">
              <a:extLst>
                <a:ext uri="{FF2B5EF4-FFF2-40B4-BE49-F238E27FC236}">
                  <a16:creationId xmlns:a16="http://schemas.microsoft.com/office/drawing/2014/main" id="{51E69D21-290A-4C75-ABAF-6603101A1BDA}"/>
                </a:ext>
              </a:extLst>
            </p:cNvPr>
            <p:cNvCxnSpPr>
              <a:cxnSpLocks/>
              <a:stCxn id="76" idx="2"/>
              <a:endCxn id="59" idx="2"/>
            </p:cNvCxnSpPr>
            <p:nvPr/>
          </p:nvCxnSpPr>
          <p:spPr>
            <a:xfrm rot="10800000" flipH="1" flipV="1">
              <a:off x="736235" y="2433231"/>
              <a:ext cx="480902" cy="1097114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onnector: Elbow 30">
              <a:extLst>
                <a:ext uri="{FF2B5EF4-FFF2-40B4-BE49-F238E27FC236}">
                  <a16:creationId xmlns:a16="http://schemas.microsoft.com/office/drawing/2014/main" id="{D5A1B002-700B-428B-B6B2-7ABE2F7E2D5D}"/>
                </a:ext>
              </a:extLst>
            </p:cNvPr>
            <p:cNvCxnSpPr>
              <a:cxnSpLocks/>
              <a:stCxn id="60" idx="2"/>
              <a:endCxn id="74" idx="2"/>
            </p:cNvCxnSpPr>
            <p:nvPr/>
          </p:nvCxnSpPr>
          <p:spPr>
            <a:xfrm rot="10800000" flipH="1" flipV="1">
              <a:off x="736235" y="4074896"/>
              <a:ext cx="480902" cy="559153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Connector: Elbow 31">
              <a:extLst>
                <a:ext uri="{FF2B5EF4-FFF2-40B4-BE49-F238E27FC236}">
                  <a16:creationId xmlns:a16="http://schemas.microsoft.com/office/drawing/2014/main" id="{41840207-9B3F-46F3-A2A0-72EA1C5F95FC}"/>
                </a:ext>
              </a:extLst>
            </p:cNvPr>
            <p:cNvCxnSpPr>
              <a:cxnSpLocks/>
              <a:stCxn id="60" idx="2"/>
              <a:endCxn id="75" idx="2"/>
            </p:cNvCxnSpPr>
            <p:nvPr>
              <p:custDataLst>
                <p:tags r:id="rId10"/>
              </p:custDataLst>
            </p:nvPr>
          </p:nvCxnSpPr>
          <p:spPr>
            <a:xfrm rot="10800000" flipH="1" flipV="1">
              <a:off x="736235" y="4074897"/>
              <a:ext cx="480902" cy="1089306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Oval 7">
              <a:extLst>
                <a:ext uri="{FF2B5EF4-FFF2-40B4-BE49-F238E27FC236}">
                  <a16:creationId xmlns:a16="http://schemas.microsoft.com/office/drawing/2014/main" id="{DEFCBE29-8A8A-403F-87FC-6E964EECF435}"/>
                </a:ext>
              </a:extLst>
            </p:cNvPr>
            <p:cNvSpPr/>
            <p:nvPr/>
          </p:nvSpPr>
          <p:spPr>
            <a:xfrm>
              <a:off x="404159" y="1866838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8" name="Oval 36">
              <a:extLst>
                <a:ext uri="{FF2B5EF4-FFF2-40B4-BE49-F238E27FC236}">
                  <a16:creationId xmlns:a16="http://schemas.microsoft.com/office/drawing/2014/main" id="{EFB45541-6952-4AB8-8984-D4903D966A51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1217137" y="2933229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9" name="Oval 37">
              <a:extLst>
                <a:ext uri="{FF2B5EF4-FFF2-40B4-BE49-F238E27FC236}">
                  <a16:creationId xmlns:a16="http://schemas.microsoft.com/office/drawing/2014/main" id="{2143FA77-D84E-4803-A4CF-57C6A2280DBC}"/>
                </a:ext>
              </a:extLst>
            </p:cNvPr>
            <p:cNvSpPr/>
            <p:nvPr/>
          </p:nvSpPr>
          <p:spPr>
            <a:xfrm>
              <a:off x="1217137" y="3476345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0" name="Oval 51">
              <a:extLst>
                <a:ext uri="{FF2B5EF4-FFF2-40B4-BE49-F238E27FC236}">
                  <a16:creationId xmlns:a16="http://schemas.microsoft.com/office/drawing/2014/main" id="{2C16C17A-1A40-4E38-8341-353E1F4A8244}"/>
                </a:ext>
              </a:extLst>
            </p:cNvPr>
            <p:cNvSpPr/>
            <p:nvPr/>
          </p:nvSpPr>
          <p:spPr>
            <a:xfrm>
              <a:off x="736235" y="4020897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4" name="Oval 52">
              <a:extLst>
                <a:ext uri="{FF2B5EF4-FFF2-40B4-BE49-F238E27FC236}">
                  <a16:creationId xmlns:a16="http://schemas.microsoft.com/office/drawing/2014/main" id="{A6EDEF7D-BF1B-4696-8813-4124510BFD1D}"/>
                </a:ext>
              </a:extLst>
            </p:cNvPr>
            <p:cNvSpPr/>
            <p:nvPr/>
          </p:nvSpPr>
          <p:spPr>
            <a:xfrm>
              <a:off x="1217137" y="4580050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5" name="Oval 53">
              <a:extLst>
                <a:ext uri="{FF2B5EF4-FFF2-40B4-BE49-F238E27FC236}">
                  <a16:creationId xmlns:a16="http://schemas.microsoft.com/office/drawing/2014/main" id="{43050E38-D6EA-4630-BC45-913F50C6A86D}"/>
                </a:ext>
              </a:extLst>
            </p:cNvPr>
            <p:cNvSpPr/>
            <p:nvPr/>
          </p:nvSpPr>
          <p:spPr>
            <a:xfrm>
              <a:off x="1217137" y="5110203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6" name="Oval 54">
              <a:extLst>
                <a:ext uri="{FF2B5EF4-FFF2-40B4-BE49-F238E27FC236}">
                  <a16:creationId xmlns:a16="http://schemas.microsoft.com/office/drawing/2014/main" id="{D8240F72-BDE6-4A9E-9A16-AC6F7259A476}"/>
                </a:ext>
              </a:extLst>
            </p:cNvPr>
            <p:cNvSpPr/>
            <p:nvPr/>
          </p:nvSpPr>
          <p:spPr>
            <a:xfrm>
              <a:off x="736235" y="2379231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77" name="Connector: Elbow 55">
              <a:extLst>
                <a:ext uri="{FF2B5EF4-FFF2-40B4-BE49-F238E27FC236}">
                  <a16:creationId xmlns:a16="http://schemas.microsoft.com/office/drawing/2014/main" id="{A8588F7C-BDAF-43FA-851B-A355AA22B9BB}"/>
                </a:ext>
              </a:extLst>
            </p:cNvPr>
            <p:cNvCxnSpPr>
              <a:cxnSpLocks/>
              <a:stCxn id="57" idx="2"/>
              <a:endCxn id="76" idx="2"/>
            </p:cNvCxnSpPr>
            <p:nvPr>
              <p:custDataLst>
                <p:tags r:id="rId12"/>
              </p:custDataLst>
            </p:nvPr>
          </p:nvCxnSpPr>
          <p:spPr>
            <a:xfrm rot="10800000" flipH="1" flipV="1">
              <a:off x="404159" y="1920837"/>
              <a:ext cx="332076" cy="512393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6" name="Table 5">
            <a:extLst>
              <a:ext uri="{FF2B5EF4-FFF2-40B4-BE49-F238E27FC236}">
                <a16:creationId xmlns:a16="http://schemas.microsoft.com/office/drawing/2014/main" id="{A2780AB0-EB42-498E-8E50-2D345ECFECD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312560" y="547721"/>
          <a:ext cx="5810430" cy="5683390"/>
        </p:xfrm>
        <a:graphic>
          <a:graphicData uri="http://schemas.openxmlformats.org/drawingml/2006/table">
            <a:tbl>
              <a:tblPr/>
              <a:tblGrid>
                <a:gridCol w="713254">
                  <a:extLst>
                    <a:ext uri="{9D8B030D-6E8A-4147-A177-3AD203B41FA5}">
                      <a16:colId xmlns:a16="http://schemas.microsoft.com/office/drawing/2014/main" val="2010222896"/>
                    </a:ext>
                  </a:extLst>
                </a:gridCol>
                <a:gridCol w="258930">
                  <a:extLst>
                    <a:ext uri="{9D8B030D-6E8A-4147-A177-3AD203B41FA5}">
                      <a16:colId xmlns:a16="http://schemas.microsoft.com/office/drawing/2014/main" val="2380497939"/>
                    </a:ext>
                  </a:extLst>
                </a:gridCol>
                <a:gridCol w="172339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  <a:gridCol w="4665907">
                  <a:extLst>
                    <a:ext uri="{9D8B030D-6E8A-4147-A177-3AD203B41FA5}">
                      <a16:colId xmlns:a16="http://schemas.microsoft.com/office/drawing/2014/main" val="2930962357"/>
                    </a:ext>
                  </a:extLst>
                </a:gridCol>
              </a:tblGrid>
              <a:tr h="568339">
                <a:tc gridSpan="4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dobí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4383480"/>
                  </a:ext>
                </a:extLst>
              </a:tr>
              <a:tr h="568339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4.2021–2.5.2021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mpd="sng">
                      <a:noFill/>
                      <a:prstDash val="solid"/>
                    </a:lnT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78555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4 375 nově pozitivních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066 nově pozitivníc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11 913 (82,9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PCR - symptomatičtí N = 4 618 (50,9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symptomatičtí N = 6 350 (44,2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N = 3 107 (34,3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asymptomatičtí N = 5 563 (38,7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celkem N = 2 462 (17,1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1 341 (14,8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symptomatičtí N = 1 244 (8,7%)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asymptomatičtí konfirmovaní PCR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 218 (8,5%)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grpSp>
        <p:nvGrpSpPr>
          <p:cNvPr id="79" name="Skupina 78">
            <a:extLst>
              <a:ext uri="{FF2B5EF4-FFF2-40B4-BE49-F238E27FC236}">
                <a16:creationId xmlns:a16="http://schemas.microsoft.com/office/drawing/2014/main" id="{639E136A-D30A-4140-954C-C19293BC2CE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430887" y="1743959"/>
            <a:ext cx="920978" cy="3914685"/>
            <a:chOff x="404159" y="1866838"/>
            <a:chExt cx="920978" cy="3351365"/>
          </a:xfrm>
        </p:grpSpPr>
        <p:cxnSp>
          <p:nvCxnSpPr>
            <p:cNvPr id="80" name="Connector: Elbow 27">
              <a:extLst>
                <a:ext uri="{FF2B5EF4-FFF2-40B4-BE49-F238E27FC236}">
                  <a16:creationId xmlns:a16="http://schemas.microsoft.com/office/drawing/2014/main" id="{91C1328B-5EC4-4984-AE54-D72529F04D8A}"/>
                </a:ext>
              </a:extLst>
            </p:cNvPr>
            <p:cNvCxnSpPr>
              <a:cxnSpLocks/>
              <a:stCxn id="85" idx="2"/>
              <a:endCxn id="88" idx="2"/>
            </p:cNvCxnSpPr>
            <p:nvPr>
              <p:custDataLst>
                <p:tags r:id="rId3"/>
              </p:custDataLst>
            </p:nvPr>
          </p:nvCxnSpPr>
          <p:spPr>
            <a:xfrm rot="10800000" flipH="1" flipV="1">
              <a:off x="404159" y="1920837"/>
              <a:ext cx="332076" cy="2154059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Connector: Elbow 28">
              <a:extLst>
                <a:ext uri="{FF2B5EF4-FFF2-40B4-BE49-F238E27FC236}">
                  <a16:creationId xmlns:a16="http://schemas.microsoft.com/office/drawing/2014/main" id="{84806C24-63B6-4D79-8858-483C23BF3F1A}"/>
                </a:ext>
              </a:extLst>
            </p:cNvPr>
            <p:cNvCxnSpPr>
              <a:cxnSpLocks/>
              <a:stCxn id="91" idx="2"/>
              <a:endCxn id="86" idx="2"/>
            </p:cNvCxnSpPr>
            <p:nvPr>
              <p:custDataLst>
                <p:tags r:id="rId4"/>
              </p:custDataLst>
            </p:nvPr>
          </p:nvCxnSpPr>
          <p:spPr>
            <a:xfrm rot="10800000" flipH="1" flipV="1">
              <a:off x="736235" y="2433231"/>
              <a:ext cx="480902" cy="553998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Connector: Elbow 29">
              <a:extLst>
                <a:ext uri="{FF2B5EF4-FFF2-40B4-BE49-F238E27FC236}">
                  <a16:creationId xmlns:a16="http://schemas.microsoft.com/office/drawing/2014/main" id="{F1013AC1-B9AA-4FF4-8C53-5B9908B7853C}"/>
                </a:ext>
              </a:extLst>
            </p:cNvPr>
            <p:cNvCxnSpPr>
              <a:cxnSpLocks/>
              <a:stCxn id="91" idx="2"/>
              <a:endCxn id="87" idx="2"/>
            </p:cNvCxnSpPr>
            <p:nvPr/>
          </p:nvCxnSpPr>
          <p:spPr>
            <a:xfrm rot="10800000" flipH="1" flipV="1">
              <a:off x="736235" y="2433231"/>
              <a:ext cx="480902" cy="1097114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Connector: Elbow 30">
              <a:extLst>
                <a:ext uri="{FF2B5EF4-FFF2-40B4-BE49-F238E27FC236}">
                  <a16:creationId xmlns:a16="http://schemas.microsoft.com/office/drawing/2014/main" id="{A21B547C-F9C9-46D9-BCC0-41AD6C84AB9F}"/>
                </a:ext>
              </a:extLst>
            </p:cNvPr>
            <p:cNvCxnSpPr>
              <a:cxnSpLocks/>
              <a:stCxn id="88" idx="2"/>
              <a:endCxn id="89" idx="2"/>
            </p:cNvCxnSpPr>
            <p:nvPr/>
          </p:nvCxnSpPr>
          <p:spPr>
            <a:xfrm rot="10800000" flipH="1" flipV="1">
              <a:off x="736235" y="4074896"/>
              <a:ext cx="480902" cy="559153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Connector: Elbow 31">
              <a:extLst>
                <a:ext uri="{FF2B5EF4-FFF2-40B4-BE49-F238E27FC236}">
                  <a16:creationId xmlns:a16="http://schemas.microsoft.com/office/drawing/2014/main" id="{003A88B2-3C0F-43D6-9F0B-99ED057CFFDF}"/>
                </a:ext>
              </a:extLst>
            </p:cNvPr>
            <p:cNvCxnSpPr>
              <a:cxnSpLocks/>
              <a:stCxn id="88" idx="2"/>
              <a:endCxn id="90" idx="2"/>
            </p:cNvCxnSpPr>
            <p:nvPr>
              <p:custDataLst>
                <p:tags r:id="rId5"/>
              </p:custDataLst>
            </p:nvPr>
          </p:nvCxnSpPr>
          <p:spPr>
            <a:xfrm rot="10800000" flipH="1" flipV="1">
              <a:off x="736235" y="4074897"/>
              <a:ext cx="480902" cy="1089306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Oval 7">
              <a:extLst>
                <a:ext uri="{FF2B5EF4-FFF2-40B4-BE49-F238E27FC236}">
                  <a16:creationId xmlns:a16="http://schemas.microsoft.com/office/drawing/2014/main" id="{BF48724A-7AD3-46E1-A401-506D6A041F29}"/>
                </a:ext>
              </a:extLst>
            </p:cNvPr>
            <p:cNvSpPr/>
            <p:nvPr/>
          </p:nvSpPr>
          <p:spPr>
            <a:xfrm>
              <a:off x="404159" y="1866838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6" name="Oval 36">
              <a:extLst>
                <a:ext uri="{FF2B5EF4-FFF2-40B4-BE49-F238E27FC236}">
                  <a16:creationId xmlns:a16="http://schemas.microsoft.com/office/drawing/2014/main" id="{32F493A2-F954-4465-B965-8FA41B790D9E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1217137" y="2933229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7" name="Oval 37">
              <a:extLst>
                <a:ext uri="{FF2B5EF4-FFF2-40B4-BE49-F238E27FC236}">
                  <a16:creationId xmlns:a16="http://schemas.microsoft.com/office/drawing/2014/main" id="{4C157B5A-94C3-448B-9504-14EBE360ACBE}"/>
                </a:ext>
              </a:extLst>
            </p:cNvPr>
            <p:cNvSpPr/>
            <p:nvPr/>
          </p:nvSpPr>
          <p:spPr>
            <a:xfrm>
              <a:off x="1217137" y="3476345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8" name="Oval 51">
              <a:extLst>
                <a:ext uri="{FF2B5EF4-FFF2-40B4-BE49-F238E27FC236}">
                  <a16:creationId xmlns:a16="http://schemas.microsoft.com/office/drawing/2014/main" id="{0BC273FC-0A44-4F0D-B7B7-9B5BCDFD8BFF}"/>
                </a:ext>
              </a:extLst>
            </p:cNvPr>
            <p:cNvSpPr/>
            <p:nvPr/>
          </p:nvSpPr>
          <p:spPr>
            <a:xfrm>
              <a:off x="736235" y="4020897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9" name="Oval 52">
              <a:extLst>
                <a:ext uri="{FF2B5EF4-FFF2-40B4-BE49-F238E27FC236}">
                  <a16:creationId xmlns:a16="http://schemas.microsoft.com/office/drawing/2014/main" id="{9CE7D06A-3744-4936-8F28-021DA4338E97}"/>
                </a:ext>
              </a:extLst>
            </p:cNvPr>
            <p:cNvSpPr/>
            <p:nvPr/>
          </p:nvSpPr>
          <p:spPr>
            <a:xfrm>
              <a:off x="1217137" y="4580050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0" name="Oval 53">
              <a:extLst>
                <a:ext uri="{FF2B5EF4-FFF2-40B4-BE49-F238E27FC236}">
                  <a16:creationId xmlns:a16="http://schemas.microsoft.com/office/drawing/2014/main" id="{25671CAA-8F0D-4062-9FC4-45371CD47E82}"/>
                </a:ext>
              </a:extLst>
            </p:cNvPr>
            <p:cNvSpPr/>
            <p:nvPr/>
          </p:nvSpPr>
          <p:spPr>
            <a:xfrm>
              <a:off x="1217137" y="5110203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1" name="Oval 54">
              <a:extLst>
                <a:ext uri="{FF2B5EF4-FFF2-40B4-BE49-F238E27FC236}">
                  <a16:creationId xmlns:a16="http://schemas.microsoft.com/office/drawing/2014/main" id="{26385A48-87FF-4E74-8694-4B668BA32EDD}"/>
                </a:ext>
              </a:extLst>
            </p:cNvPr>
            <p:cNvSpPr/>
            <p:nvPr/>
          </p:nvSpPr>
          <p:spPr>
            <a:xfrm>
              <a:off x="736235" y="2379231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92" name="Connector: Elbow 55">
              <a:extLst>
                <a:ext uri="{FF2B5EF4-FFF2-40B4-BE49-F238E27FC236}">
                  <a16:creationId xmlns:a16="http://schemas.microsoft.com/office/drawing/2014/main" id="{0881EE64-CAF9-42AB-A77F-B8A602A5C626}"/>
                </a:ext>
              </a:extLst>
            </p:cNvPr>
            <p:cNvCxnSpPr>
              <a:cxnSpLocks/>
              <a:stCxn id="85" idx="2"/>
              <a:endCxn id="91" idx="2"/>
            </p:cNvCxnSpPr>
            <p:nvPr>
              <p:custDataLst>
                <p:tags r:id="rId7"/>
              </p:custDataLst>
            </p:nvPr>
          </p:nvCxnSpPr>
          <p:spPr>
            <a:xfrm rot="10800000" flipH="1" flipV="1">
              <a:off x="404159" y="1920837"/>
              <a:ext cx="332076" cy="512393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24417980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40" y="2"/>
            <a:ext cx="6371768" cy="576000"/>
          </a:xfrm>
        </p:spPr>
        <p:txBody>
          <a:bodyPr/>
          <a:lstStyle/>
          <a:p>
            <a:r>
              <a:rPr lang="cs-CZ" dirty="0"/>
              <a:t>Počty testů dle indikace a účelu: 26. 4.–2. 5.</a:t>
            </a:r>
          </a:p>
        </p:txBody>
      </p:sp>
      <p:pic>
        <p:nvPicPr>
          <p:cNvPr id="3" name="Obrázek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1740" y="839635"/>
            <a:ext cx="11391900" cy="5949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763067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5275" y="3693109"/>
            <a:ext cx="11737724" cy="2238375"/>
          </a:xfrm>
        </p:spPr>
        <p:txBody>
          <a:bodyPr>
            <a:normAutofit/>
          </a:bodyPr>
          <a:lstStyle/>
          <a:p>
            <a:r>
              <a:rPr lang="cs-CZ" sz="5000" b="1" dirty="0"/>
              <a:t>Zátěž nemocnic klesá v důsledku klesajícího počtu nákaz zranitelných pacientů </a:t>
            </a:r>
          </a:p>
        </p:txBody>
      </p:sp>
    </p:spTree>
    <p:extLst>
      <p:ext uri="{BB962C8B-B14F-4D97-AF65-F5344CB8AC3E}">
        <p14:creationId xmlns:p14="http://schemas.microsoft.com/office/powerpoint/2010/main" val="341024715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4">
            <a:extLst>
              <a:ext uri="{FF2B5EF4-FFF2-40B4-BE49-F238E27FC236}">
                <a16:creationId xmlns:a16="http://schemas.microsoft.com/office/drawing/2014/main" id="{833A5CE7-EFE4-4FF9-8B90-B0FD849FE351}"/>
              </a:ext>
            </a:extLst>
          </p:cNvPr>
          <p:cNvGraphicFramePr/>
          <p:nvPr/>
        </p:nvGraphicFramePr>
        <p:xfrm>
          <a:off x="95247" y="2824205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2" name="TextovéPole 11">
            <a:extLst>
              <a:ext uri="{FF2B5EF4-FFF2-40B4-BE49-F238E27FC236}">
                <a16:creationId xmlns:a16="http://schemas.microsoft.com/office/drawing/2014/main" id="{CB45B59F-8A81-4DD2-B8A6-842CB8B659F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753063" y="2214940"/>
            <a:ext cx="2362704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pulace seniorů 65+ let</a:t>
            </a:r>
          </a:p>
        </p:txBody>
      </p:sp>
      <p:graphicFrame>
        <p:nvGraphicFramePr>
          <p:cNvPr id="8" name="Tabulka 3">
            <a:extLst>
              <a:ext uri="{FF2B5EF4-FFF2-40B4-BE49-F238E27FC236}">
                <a16:creationId xmlns:a16="http://schemas.microsoft.com/office/drawing/2014/main" id="{46F8619C-C538-4515-8A87-3AAFD1CBF9E0}"/>
              </a:ext>
            </a:extLst>
          </p:cNvPr>
          <p:cNvGraphicFramePr>
            <a:graphicFrameLocks noGrp="1"/>
          </p:cNvGraphicFramePr>
          <p:nvPr/>
        </p:nvGraphicFramePr>
        <p:xfrm>
          <a:off x="4539343" y="1318755"/>
          <a:ext cx="6646969" cy="22174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39983">
                  <a:extLst>
                    <a:ext uri="{9D8B030D-6E8A-4147-A177-3AD203B41FA5}">
                      <a16:colId xmlns:a16="http://schemas.microsoft.com/office/drawing/2014/main" val="653187899"/>
                    </a:ext>
                  </a:extLst>
                </a:gridCol>
                <a:gridCol w="2306986">
                  <a:extLst>
                    <a:ext uri="{9D8B030D-6E8A-4147-A177-3AD203B41FA5}">
                      <a16:colId xmlns:a16="http://schemas.microsoft.com/office/drawing/2014/main" val="34864157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3000" b="1" u="sng">
                          <a:solidFill>
                            <a:srgbClr val="C00000"/>
                          </a:solidFill>
                          <a:latin typeface="+mn-lt"/>
                        </a:rPr>
                        <a:t>Nově diagnostikovaní ve věku 65+</a:t>
                      </a:r>
                      <a:endParaRPr lang="cs-CZ" sz="3000" b="1" u="sng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61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é 3 dny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778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293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7 dní: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 984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834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14 dní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 389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41784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7C764D1A-68C2-47CF-9E50-A28EB0F2ED2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32105" y="33126"/>
            <a:ext cx="113442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ký počet nově nakažených potenciálně zranitelných pacientů zvyšoval zátěž nemocnic. V posledním týdnu počty pacientů klesají.  </a:t>
            </a: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Šipka doprava 1">
            <a:extLst>
              <a:ext uri="{FF2B5EF4-FFF2-40B4-BE49-F238E27FC236}">
                <a16:creationId xmlns:a16="http://schemas.microsoft.com/office/drawing/2014/main" id="{B1D27FC9-EC46-49D1-BC34-CC1C1B54C31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228665">
            <a:off x="11096993" y="4854039"/>
            <a:ext cx="664908" cy="2028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916204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le 33">
            <a:extLst>
              <a:ext uri="{FF2B5EF4-FFF2-40B4-BE49-F238E27FC236}">
                <a16:creationId xmlns:a16="http://schemas.microsoft.com/office/drawing/2014/main" id="{C5747F8E-2DFE-46AF-BC66-E22B7CD0EB37}"/>
              </a:ext>
            </a:extLst>
          </p:cNvPr>
          <p:cNvGraphicFramePr>
            <a:graphicFrameLocks noGrp="1"/>
          </p:cNvGraphicFramePr>
          <p:nvPr/>
        </p:nvGraphicFramePr>
        <p:xfrm>
          <a:off x="838200" y="3088673"/>
          <a:ext cx="9064944" cy="3505200"/>
        </p:xfrm>
        <a:graphic>
          <a:graphicData uri="http://schemas.openxmlformats.org/drawingml/2006/table">
            <a:tbl>
              <a:tblPr/>
              <a:tblGrid>
                <a:gridCol w="7173873">
                  <a:extLst>
                    <a:ext uri="{9D8B030D-6E8A-4147-A177-3AD203B41FA5}">
                      <a16:colId xmlns:a16="http://schemas.microsoft.com/office/drawing/2014/main" val="1918387992"/>
                    </a:ext>
                  </a:extLst>
                </a:gridCol>
                <a:gridCol w="1891071">
                  <a:extLst>
                    <a:ext uri="{9D8B030D-6E8A-4147-A177-3AD203B41FA5}">
                      <a16:colId xmlns:a16="http://schemas.microsoft.com/office/drawing/2014/main" val="1639439843"/>
                    </a:ext>
                  </a:extLst>
                </a:gridCol>
              </a:tblGrid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 v nemocnici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 449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9789772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JIP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563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122535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UPV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2193534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ECMO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2537972"/>
                  </a:ext>
                </a:extLst>
              </a:tr>
            </a:tbl>
          </a:graphicData>
        </a:graphic>
      </p:graphicFrame>
      <p:sp>
        <p:nvSpPr>
          <p:cNvPr id="35" name="Šipka dolů 1">
            <a:extLst>
              <a:ext uri="{FF2B5EF4-FFF2-40B4-BE49-F238E27FC236}">
                <a16:creationId xmlns:a16="http://schemas.microsoft.com/office/drawing/2014/main" id="{273E8147-1472-4BD2-B50D-7B3FC07C0A0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144651" y="1892081"/>
            <a:ext cx="1588655" cy="785091"/>
          </a:xfrm>
          <a:prstGeom prst="downArrow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AFABE329-CC08-4062-8E80-53173DE0C38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77008" y="334108"/>
            <a:ext cx="1113106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tuální 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ty </a:t>
            </a:r>
            <a:r>
              <a:rPr kumimoji="0" lang="en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ých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acientů klesají</a:t>
            </a:r>
            <a:b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roste i dostupná kapacita lůžek, včetně JIP</a:t>
            </a:r>
            <a:endParaRPr kumimoji="0" lang="cs-CZ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Šipka doprava 5">
            <a:extLst>
              <a:ext uri="{FF2B5EF4-FFF2-40B4-BE49-F238E27FC236}">
                <a16:creationId xmlns:a16="http://schemas.microsoft.com/office/drawing/2014/main" id="{8B605E19-8E0D-463F-BF24-B2B0E9C63C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5400000">
            <a:off x="10031632" y="336911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Šipka doprava 6">
            <a:extLst>
              <a:ext uri="{FF2B5EF4-FFF2-40B4-BE49-F238E27FC236}">
                <a16:creationId xmlns:a16="http://schemas.microsoft.com/office/drawing/2014/main" id="{D25A05A7-A807-4583-A277-C5FD37355EA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5400000">
            <a:off x="10031632" y="4224634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Šipka doprava 7">
            <a:extLst>
              <a:ext uri="{FF2B5EF4-FFF2-40B4-BE49-F238E27FC236}">
                <a16:creationId xmlns:a16="http://schemas.microsoft.com/office/drawing/2014/main" id="{6DB20091-CCBD-46D7-9A06-C1C750C62DA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5400000">
            <a:off x="10031632" y="5084257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2" name="Tabulka 4">
            <a:extLst>
              <a:ext uri="{FF2B5EF4-FFF2-40B4-BE49-F238E27FC236}">
                <a16:creationId xmlns:a16="http://schemas.microsoft.com/office/drawing/2014/main" id="{1F85685B-374C-4E16-8891-2921D3B486CB}"/>
              </a:ext>
            </a:extLst>
          </p:cNvPr>
          <p:cNvGraphicFramePr>
            <a:graphicFrameLocks noGrp="1"/>
          </p:cNvGraphicFramePr>
          <p:nvPr/>
        </p:nvGraphicFramePr>
        <p:xfrm>
          <a:off x="7737231" y="2713132"/>
          <a:ext cx="307730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8846">
                  <a:extLst>
                    <a:ext uri="{9D8B030D-6E8A-4147-A177-3AD203B41FA5}">
                      <a16:colId xmlns:a16="http://schemas.microsoft.com/office/drawing/2014/main" val="3701563452"/>
                    </a:ext>
                  </a:extLst>
                </a:gridCol>
                <a:gridCol w="1758462">
                  <a:extLst>
                    <a:ext uri="{9D8B030D-6E8A-4147-A177-3AD203B41FA5}">
                      <a16:colId xmlns:a16="http://schemas.microsoft.com/office/drawing/2014/main" val="212158555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400"/>
                        <a:t>Stav k</a:t>
                      </a:r>
                      <a:endParaRPr lang="cs-CZ" sz="2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01.05.2021</a:t>
                      </a:r>
                      <a:endParaRPr lang="cs-CZ" sz="2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265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266002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140141" y="4287824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381739" y="94911"/>
            <a:ext cx="113753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 </a:t>
            </a:r>
            <a:r>
              <a:rPr kumimoji="0" lang="cs-CZ" sz="30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esají</a:t>
            </a:r>
          </a:p>
        </p:txBody>
      </p:sp>
      <p:sp>
        <p:nvSpPr>
          <p:cNvPr id="29" name="Zahnutá šipka nahoru 25">
            <a:extLst>
              <a:ext uri="{FF2B5EF4-FFF2-40B4-BE49-F238E27FC236}">
                <a16:creationId xmlns:a16="http://schemas.microsoft.com/office/drawing/2014/main" id="{77962815-283B-44A7-A845-1BB5AFDAE33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Zahnutá šipka nahoru 25">
            <a:extLst>
              <a:ext uri="{FF2B5EF4-FFF2-40B4-BE49-F238E27FC236}">
                <a16:creationId xmlns:a16="http://schemas.microsoft.com/office/drawing/2014/main" id="{900DBD3A-25FF-44DB-9A70-41A63B98A098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8BC9AE2D-ED68-40C1-9F08-DFCD52A3016B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6893A30C-13C1-48B0-8E66-4452BB2AA16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900378"/>
            <a:ext cx="1900937" cy="1908215"/>
            <a:chOff x="10258697" y="3526984"/>
            <a:chExt cx="1900937" cy="2050641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BFB909AD-5289-44A3-B1F2-3B9234B8EE2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BEA18967-C642-4BF3-B34F-32EEB41C01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Obdélník 39">
              <a:extLst>
                <a:ext uri="{FF2B5EF4-FFF2-40B4-BE49-F238E27FC236}">
                  <a16:creationId xmlns:a16="http://schemas.microsoft.com/office/drawing/2014/main" id="{21846B38-EB34-4DB8-A436-D436168812D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41" name="TextovéPole 28">
              <a:extLst>
                <a:ext uri="{FF2B5EF4-FFF2-40B4-BE49-F238E27FC236}">
                  <a16:creationId xmlns:a16="http://schemas.microsoft.com/office/drawing/2014/main" id="{73BB0644-34DD-4DA4-BD0A-DF4A8CE2ED3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20506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endParaRPr lang="cs-CZ" sz="1400" dirty="0" smtClean="0"/>
            </a:p>
            <a:p>
              <a:r>
                <a:rPr lang="cs-CZ" sz="1400" dirty="0" smtClean="0"/>
                <a:t>R </a:t>
              </a:r>
              <a:r>
                <a:rPr lang="cs-CZ" sz="1400" dirty="0"/>
                <a:t>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42" name="Přímá spojnice 41">
              <a:extLst>
                <a:ext uri="{FF2B5EF4-FFF2-40B4-BE49-F238E27FC236}">
                  <a16:creationId xmlns:a16="http://schemas.microsoft.com/office/drawing/2014/main" id="{B9E18A0F-634C-4FB8-9C2E-7529D9949A6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Přímá spojnice 42">
              <a:extLst>
                <a:ext uri="{FF2B5EF4-FFF2-40B4-BE49-F238E27FC236}">
                  <a16:creationId xmlns:a16="http://schemas.microsoft.com/office/drawing/2014/main" id="{A2B38171-9386-487D-86F3-56F99584FA2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le 1">
            <a:extLst>
              <a:ext uri="{FF2B5EF4-FFF2-40B4-BE49-F238E27FC236}">
                <a16:creationId xmlns:a16="http://schemas.microsoft.com/office/drawing/2014/main" id="{F19E8777-E529-4D78-A385-53734F5DCF26}"/>
              </a:ext>
            </a:extLst>
          </p:cNvPr>
          <p:cNvGraphicFramePr>
            <a:graphicFrameLocks noGrp="1"/>
          </p:cNvGraphicFramePr>
          <p:nvPr/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7. 3.–2. 4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. 4.–9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. 4.–16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7. 4.–23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. 4.–30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4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1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4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64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5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3,8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1,4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1,4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3,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TextBox 9">
            <a:extLst>
              <a:ext uri="{FF2B5EF4-FFF2-40B4-BE49-F238E27FC236}">
                <a16:creationId xmlns:a16="http://schemas.microsoft.com/office/drawing/2014/main" id="{A7EDDDB3-60FE-4BF3-AD6E-EC4DF377ACB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84777" y="3305908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1739" y="2262902"/>
            <a:ext cx="11806428" cy="4372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838234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983075" y="3867155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žadujících intenzivní péči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507D902C-D9A4-417A-909B-281157810E3B}"/>
              </a:ext>
            </a:extLst>
          </p:cNvPr>
          <p:cNvSpPr txBox="1"/>
          <p:nvPr/>
        </p:nvSpPr>
        <p:spPr>
          <a:xfrm>
            <a:off x="184727" y="12542"/>
            <a:ext cx="11797686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na JIP v ČR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ají</a:t>
            </a:r>
            <a:endParaRPr kumimoji="0" lang="cs-CZ" sz="2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5D1CA4ED-3B54-4AF5-A724-D10A278B2BB4}"/>
              </a:ext>
            </a:extLst>
          </p:cNvPr>
          <p:cNvGraphicFramePr/>
          <p:nvPr/>
        </p:nvGraphicFramePr>
        <p:xfrm>
          <a:off x="557348" y="2233245"/>
          <a:ext cx="11634651" cy="4398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B9467872-2E2D-483D-9051-248F9B679CD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BA5D4EF8-791B-4AC7-95EC-26F641E5D80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AAF39631-D007-4DCC-BE9F-1756C7735E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Obdélník 30">
              <a:extLst>
                <a:ext uri="{FF2B5EF4-FFF2-40B4-BE49-F238E27FC236}">
                  <a16:creationId xmlns:a16="http://schemas.microsoft.com/office/drawing/2014/main" id="{A948540E-6D40-49FE-B36C-8A36C14B109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2" name="TextovéPole 28">
              <a:extLst>
                <a:ext uri="{FF2B5EF4-FFF2-40B4-BE49-F238E27FC236}">
                  <a16:creationId xmlns:a16="http://schemas.microsoft.com/office/drawing/2014/main" id="{69C4313E-E871-45D7-A260-E9B39E1AF38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endParaRPr lang="cs-CZ" sz="1400" dirty="0" smtClean="0"/>
            </a:p>
            <a:p>
              <a:r>
                <a:rPr lang="cs-CZ" sz="1400" dirty="0" smtClean="0"/>
                <a:t>R </a:t>
              </a:r>
              <a:r>
                <a:rPr lang="cs-CZ" sz="1400" dirty="0"/>
                <a:t>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237A5BB3-D390-4057-9107-0BFDE16D703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EB715DD8-1FB5-4345-AED7-D5983CB9355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5" name="Table 42">
            <a:extLst>
              <a:ext uri="{FF2B5EF4-FFF2-40B4-BE49-F238E27FC236}">
                <a16:creationId xmlns:a16="http://schemas.microsoft.com/office/drawing/2014/main" id="{F1A43C80-A675-4E6B-9A4A-519FE17A605F}"/>
              </a:ext>
            </a:extLst>
          </p:cNvPr>
          <p:cNvGraphicFramePr>
            <a:graphicFrameLocks noGrp="1"/>
          </p:cNvGraphicFramePr>
          <p:nvPr/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7. 3.–2. 4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. 4.–9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. 4.–16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7. 4.–23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. 4.–30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8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51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38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4,6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5,8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9,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4,5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Zahnutá šipka nahoru 25">
            <a:extLst>
              <a:ext uri="{FF2B5EF4-FFF2-40B4-BE49-F238E27FC236}">
                <a16:creationId xmlns:a16="http://schemas.microsoft.com/office/drawing/2014/main" id="{DD00329A-1C9A-46DB-B313-08A07865150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Zahnutá šipka nahoru 25">
            <a:extLst>
              <a:ext uri="{FF2B5EF4-FFF2-40B4-BE49-F238E27FC236}">
                <a16:creationId xmlns:a16="http://schemas.microsoft.com/office/drawing/2014/main" id="{D048DF33-1F93-4BCD-9CA7-BEB90F6D9964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Zahnutá šipka nahoru 25">
            <a:extLst>
              <a:ext uri="{FF2B5EF4-FFF2-40B4-BE49-F238E27FC236}">
                <a16:creationId xmlns:a16="http://schemas.microsoft.com/office/drawing/2014/main" id="{061772AD-B26D-41E1-8302-56FC079A1B0F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TextBox 9">
            <a:extLst>
              <a:ext uri="{FF2B5EF4-FFF2-40B4-BE49-F238E27FC236}">
                <a16:creationId xmlns:a16="http://schemas.microsoft.com/office/drawing/2014/main" id="{81B9859D-FCC7-4B87-A5A4-E0A0318FD9E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84777" y="3305908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0754267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4">
            <a:extLst>
              <a:ext uri="{FF2B5EF4-FFF2-40B4-BE49-F238E27FC236}">
                <a16:creationId xmlns:a16="http://schemas.microsoft.com/office/drawing/2014/main" id="{46EFD5D5-E2B4-4082-B862-E88569B63F81}"/>
              </a:ext>
            </a:extLst>
          </p:cNvPr>
          <p:cNvGraphicFramePr/>
          <p:nvPr/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0" name="Table 11">
            <a:extLst>
              <a:ext uri="{FF2B5EF4-FFF2-40B4-BE49-F238E27FC236}">
                <a16:creationId xmlns:a16="http://schemas.microsoft.com/office/drawing/2014/main" id="{7ECCBA62-40CE-4066-9E7F-E76D93B65359}"/>
              </a:ext>
            </a:extLst>
          </p:cNvPr>
          <p:cNvGraphicFramePr>
            <a:graphicFrameLocks noGrp="1"/>
          </p:cNvGraphicFramePr>
          <p:nvPr/>
        </p:nvGraphicFramePr>
        <p:xfrm>
          <a:off x="922214" y="631457"/>
          <a:ext cx="10328489" cy="302589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8. 3.–3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. 4.–10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. 4.–17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. 4.–24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4.–1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5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4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9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9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9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3,2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3,5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9,3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5,9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6308715"/>
                  </a:ext>
                </a:extLst>
              </a:tr>
              <a:tr h="409445"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cs-CZ" sz="20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ktuální odhad pro ČR: 0,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2000" b="1" i="0" u="sng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5051437"/>
                  </a:ext>
                </a:extLst>
              </a:tr>
            </a:tbl>
          </a:graphicData>
        </a:graphic>
      </p:graphicFrame>
      <p:sp>
        <p:nvSpPr>
          <p:cNvPr id="13" name="Šipka doprava 58">
            <a:extLst>
              <a:ext uri="{FF2B5EF4-FFF2-40B4-BE49-F238E27FC236}">
                <a16:creationId xmlns:a16="http://schemas.microsoft.com/office/drawing/2014/main" id="{F4560E84-2F4A-4BEA-BD3C-44D5B82984B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697074" flipV="1">
            <a:off x="11145324" y="5037652"/>
            <a:ext cx="521883" cy="28115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970832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Zahnutá šipka nahoru 25">
            <a:extLst>
              <a:ext uri="{FF2B5EF4-FFF2-40B4-BE49-F238E27FC236}">
                <a16:creationId xmlns:a16="http://schemas.microsoft.com/office/drawing/2014/main" id="{B7104930-024A-4044-A0CF-2DE6C3BD7FC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172714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Zahnutá šipka nahoru 25">
            <a:extLst>
              <a:ext uri="{FF2B5EF4-FFF2-40B4-BE49-F238E27FC236}">
                <a16:creationId xmlns:a16="http://schemas.microsoft.com/office/drawing/2014/main" id="{A310F353-468A-478C-85AA-BAA4E17F262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374596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ů pozitivních diagnóz ukazuje na pokračující zpomalování epidemie</a:t>
            </a:r>
          </a:p>
        </p:txBody>
      </p:sp>
    </p:spTree>
    <p:extLst>
      <p:ext uri="{BB962C8B-B14F-4D97-AF65-F5344CB8AC3E}">
        <p14:creationId xmlns:p14="http://schemas.microsoft.com/office/powerpoint/2010/main" val="318749563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5275" y="3693109"/>
            <a:ext cx="11737724" cy="2238375"/>
          </a:xfrm>
        </p:spPr>
        <p:txBody>
          <a:bodyPr>
            <a:normAutofit/>
          </a:bodyPr>
          <a:lstStyle/>
          <a:p>
            <a:r>
              <a:rPr lang="cs-CZ" sz="5000" b="1" dirty="0"/>
              <a:t>Vybrané závěry prediktivních populačních modelů </a:t>
            </a:r>
          </a:p>
        </p:txBody>
      </p:sp>
    </p:spTree>
    <p:extLst>
      <p:ext uri="{BB962C8B-B14F-4D97-AF65-F5344CB8AC3E}">
        <p14:creationId xmlns:p14="http://schemas.microsoft.com/office/powerpoint/2010/main" val="284164130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ovéPole 6"/>
          <p:cNvSpPr txBox="1"/>
          <p:nvPr/>
        </p:nvSpPr>
        <p:spPr>
          <a:xfrm>
            <a:off x="277585" y="2771954"/>
            <a:ext cx="1156149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3200" b="1" dirty="0">
                <a:solidFill>
                  <a:srgbClr val="C00000"/>
                </a:solidFill>
              </a:rPr>
              <a:t>V populaci je stále relativně mnoho k nákaze vnímavých jedinců </a:t>
            </a:r>
          </a:p>
          <a:p>
            <a:pPr lvl="0" algn="ctr">
              <a:defRPr/>
            </a:pPr>
            <a:r>
              <a:rPr lang="cs-CZ" sz="3200" b="1" dirty="0">
                <a:solidFill>
                  <a:srgbClr val="C00000"/>
                </a:solidFill>
              </a:rPr>
              <a:t>(40 – 50%), kteří se mohou nakazit a epidemii obrátit zpět k růstu.</a:t>
            </a:r>
          </a:p>
          <a:p>
            <a:pPr lvl="0" algn="ctr">
              <a:defRPr/>
            </a:pPr>
            <a:endParaRPr lang="cs-CZ" sz="3200" b="1" dirty="0">
              <a:solidFill>
                <a:srgbClr val="C00000"/>
              </a:solidFill>
            </a:endParaRPr>
          </a:p>
          <a:p>
            <a:pPr lvl="0" algn="ctr">
              <a:defRPr/>
            </a:pPr>
            <a:r>
              <a:rPr lang="cs-CZ" sz="3200" b="1" dirty="0">
                <a:solidFill>
                  <a:srgbClr val="C00000"/>
                </a:solidFill>
              </a:rPr>
              <a:t> Zdravotní dopad tohoto potenciálního rizika bude postupně snižovat postupující vakcinace starších populačních skupin. </a:t>
            </a:r>
          </a:p>
        </p:txBody>
      </p:sp>
      <p:sp>
        <p:nvSpPr>
          <p:cNvPr id="6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142875" y="147236"/>
            <a:ext cx="11963400" cy="18755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 má i přes postupující vakcinaci v ČR stále potenciál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 růstu,</a:t>
            </a:r>
            <a:r>
              <a:rPr kumimoji="0" lang="cs-CZ" sz="36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iziko zejména v regionech: Zlínský, Ústecký, Jihočeský</a:t>
            </a:r>
            <a:endParaRPr kumimoji="0" lang="cs-CZ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199348" y="1826266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Šipka dolů 7"/>
          <p:cNvSpPr/>
          <p:nvPr/>
        </p:nvSpPr>
        <p:spPr>
          <a:xfrm>
            <a:off x="5199348" y="5486195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ovéPole 1"/>
          <p:cNvSpPr txBox="1"/>
          <p:nvPr/>
        </p:nvSpPr>
        <p:spPr>
          <a:xfrm>
            <a:off x="108877" y="3233618"/>
            <a:ext cx="3374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!</a:t>
            </a:r>
          </a:p>
        </p:txBody>
      </p:sp>
      <p:sp>
        <p:nvSpPr>
          <p:cNvPr id="9" name="TextovéPole 8"/>
          <p:cNvSpPr txBox="1"/>
          <p:nvPr/>
        </p:nvSpPr>
        <p:spPr>
          <a:xfrm>
            <a:off x="11675768" y="3233617"/>
            <a:ext cx="3374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37108227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id="{2BB8491A-FBE1-4525-9D24-44ABA68EC3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0953" y="1487839"/>
            <a:ext cx="8904000" cy="3816000"/>
          </a:xfrm>
          <a:prstGeom prst="rect">
            <a:avLst/>
          </a:prstGeom>
        </p:spPr>
      </p:pic>
      <p:sp>
        <p:nvSpPr>
          <p:cNvPr id="4" name="Nadpis 3">
            <a:extLst>
              <a:ext uri="{FF2B5EF4-FFF2-40B4-BE49-F238E27FC236}">
                <a16:creationId xmlns:a16="http://schemas.microsoft.com/office/drawing/2014/main" id="{BA9A5602-B2DD-4B9B-B804-B76208D951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182" y="2"/>
            <a:ext cx="7770039" cy="576000"/>
          </a:xfrm>
        </p:spPr>
        <p:txBody>
          <a:bodyPr/>
          <a:lstStyle/>
          <a:p>
            <a:r>
              <a:rPr lang="cs-CZ" dirty="0"/>
              <a:t>Struktura </a:t>
            </a:r>
            <a:r>
              <a:rPr lang="cs-CZ" dirty="0" err="1"/>
              <a:t>popualce</a:t>
            </a:r>
            <a:r>
              <a:rPr lang="cs-CZ" dirty="0"/>
              <a:t> z hlediska vnímavosti k infekci </a:t>
            </a:r>
          </a:p>
        </p:txBody>
      </p:sp>
      <p:graphicFrame>
        <p:nvGraphicFramePr>
          <p:cNvPr id="7" name="Tabulka 10">
            <a:extLst>
              <a:ext uri="{FF2B5EF4-FFF2-40B4-BE49-F238E27FC236}">
                <a16:creationId xmlns:a16="http://schemas.microsoft.com/office/drawing/2014/main" id="{C69C8526-CC5F-4C7B-99F2-F82550E6E1A4}"/>
              </a:ext>
            </a:extLst>
          </p:cNvPr>
          <p:cNvGraphicFramePr>
            <a:graphicFrameLocks noGrp="1"/>
          </p:cNvGraphicFramePr>
          <p:nvPr/>
        </p:nvGraphicFramePr>
        <p:xfrm>
          <a:off x="1786059" y="4560362"/>
          <a:ext cx="7824707" cy="2750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1337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711337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711337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711337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711337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711337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711337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711337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711337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711337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711337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A8107364-C927-43EB-AC8E-A3312D63BD0C}"/>
              </a:ext>
            </a:extLst>
          </p:cNvPr>
          <p:cNvSpPr txBox="1"/>
          <p:nvPr/>
        </p:nvSpPr>
        <p:spPr>
          <a:xfrm>
            <a:off x="1622630" y="707702"/>
            <a:ext cx="81323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ientační odhad rozdělení stavů v populaci v čase (populační modely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 s maximální počty již infikovaných osob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73E4C5B4-A094-44CE-87BA-9F1B2A58F434}"/>
              </a:ext>
            </a:extLst>
          </p:cNvPr>
          <p:cNvSpPr txBox="1"/>
          <p:nvPr/>
        </p:nvSpPr>
        <p:spPr>
          <a:xfrm>
            <a:off x="8016311" y="4987928"/>
            <a:ext cx="34848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kcinovaní včetně v minulosti infikovaných</a:t>
            </a:r>
          </a:p>
        </p:txBody>
      </p:sp>
      <p:sp>
        <p:nvSpPr>
          <p:cNvPr id="9" name="TextovéPole 8"/>
          <p:cNvSpPr txBox="1"/>
          <p:nvPr/>
        </p:nvSpPr>
        <p:spPr>
          <a:xfrm>
            <a:off x="920953" y="5423023"/>
            <a:ext cx="1010976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opulaci je stále relativně mnoho k nákaze vnímavých jedinců (40 – 50%), kteří se mohou nakazit a epidemii obrátit zpět k růstu. Zdravotní dopad tohoto potenciálního rizika bude postupně snižovat postupující vakcinace starších populačních skupin. </a:t>
            </a:r>
          </a:p>
        </p:txBody>
      </p:sp>
    </p:spTree>
    <p:extLst>
      <p:ext uri="{BB962C8B-B14F-4D97-AF65-F5344CB8AC3E}">
        <p14:creationId xmlns:p14="http://schemas.microsoft.com/office/powerpoint/2010/main" val="184625891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ovéPole 6"/>
          <p:cNvSpPr txBox="1"/>
          <p:nvPr/>
        </p:nvSpPr>
        <p:spPr>
          <a:xfrm>
            <a:off x="142875" y="2735152"/>
            <a:ext cx="1156149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i pokračujícím vývoji lze celorepublikově dosáhnout hranice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7denního počtu nově potvrzených případů 100/100tis. </a:t>
            </a:r>
            <a:r>
              <a:rPr kumimoji="0" lang="cs-CZ" sz="3200" b="1" i="0" u="none" strike="noStrike" kern="1200" cap="none" spc="0" normalizeH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yv</a:t>
            </a:r>
            <a:r>
              <a:rPr lang="cs-CZ" sz="3200" b="1" dirty="0" smtClean="0">
                <a:solidFill>
                  <a:srgbClr val="0000FF"/>
                </a:solidFill>
                <a:latin typeface="Calibri" panose="020F0502020204030204"/>
              </a:rPr>
              <a:t>. mezi 9.5. až 14.5. 2021. Celkovou situaci bude velmi ovlivňovat vývoj ve východních krajích republiky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6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142875" y="147236"/>
            <a:ext cx="11963400" cy="18755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ová zátěž všech regionů klesá a rovněž pro další období lze očekávat pokles, který bude dále umocňován postupujícím očkováním. </a:t>
            </a:r>
            <a:endParaRPr kumimoji="0" lang="cs-CZ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199348" y="2182460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Šipka dolů 7"/>
          <p:cNvSpPr/>
          <p:nvPr/>
        </p:nvSpPr>
        <p:spPr>
          <a:xfrm>
            <a:off x="5147765" y="5116647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770928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/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dirty="0" err="1">
                <a:latin typeface="+mj-lt"/>
              </a:rPr>
              <a:t>Modelov</a:t>
            </a:r>
            <a:r>
              <a:rPr lang="cs-CZ" dirty="0">
                <a:latin typeface="+mj-lt"/>
              </a:rPr>
              <a:t>é scénáře: </a:t>
            </a:r>
            <a:r>
              <a:rPr lang="cs-CZ" dirty="0" err="1">
                <a:latin typeface="+mj-lt"/>
              </a:rPr>
              <a:t>7denní</a:t>
            </a:r>
            <a:r>
              <a:rPr lang="cs-CZ" dirty="0">
                <a:latin typeface="+mj-lt"/>
              </a:rPr>
              <a:t> hodnoty na 100 tisíc obyvatel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5485644" y="1173002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5782825" y="1121195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á data z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2191937" y="1022638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5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897192" y="1175760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095375A6-BA75-44A5-A84A-36A5A097F6F7}"/>
              </a:ext>
            </a:extLst>
          </p:cNvPr>
          <p:cNvSpPr txBox="1"/>
          <p:nvPr/>
        </p:nvSpPr>
        <p:spPr>
          <a:xfrm>
            <a:off x="2191937" y="124785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85</a:t>
            </a:r>
          </a:p>
        </p:txBody>
      </p:sp>
      <p:cxnSp>
        <p:nvCxnSpPr>
          <p:cNvPr id="23" name="Přímá spojnice 22">
            <a:extLst>
              <a:ext uri="{FF2B5EF4-FFF2-40B4-BE49-F238E27FC236}">
                <a16:creationId xmlns:a16="http://schemas.microsoft.com/office/drawing/2014/main" id="{AB76497E-F494-41CE-B6CE-8CEE02B36A8F}"/>
              </a:ext>
            </a:extLst>
          </p:cNvPr>
          <p:cNvCxnSpPr>
            <a:cxnSpLocks/>
          </p:cNvCxnSpPr>
          <p:nvPr/>
        </p:nvCxnSpPr>
        <p:spPr>
          <a:xfrm>
            <a:off x="1897192" y="139906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897192" y="1622373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2184080" y="1473077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27. 4. 2021)</a:t>
            </a: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D97E0517-3EC9-44C6-B315-D6D19D4240FA}"/>
              </a:ext>
            </a:extLst>
          </p:cNvPr>
          <p:cNvSpPr txBox="1"/>
          <p:nvPr/>
        </p:nvSpPr>
        <p:spPr>
          <a:xfrm>
            <a:off x="228000" y="6363777"/>
            <a:ext cx="117347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ované hodnoty byly korigovány, aby odpovídaly celotýdenním hodnotám, včetně volných dnů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82 % pr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ůměrné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hodnoty v pracovních dnech).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079DCD2B-EC27-47E9-B6A4-F6F1F3F1E16B}"/>
              </a:ext>
            </a:extLst>
          </p:cNvPr>
          <p:cNvSpPr txBox="1"/>
          <p:nvPr/>
        </p:nvSpPr>
        <p:spPr>
          <a:xfrm>
            <a:off x="11525360" y="4820098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30FE691E-C2BD-4B30-A169-AABD4604D046}"/>
              </a:ext>
            </a:extLst>
          </p:cNvPr>
          <p:cNvSpPr txBox="1"/>
          <p:nvPr/>
        </p:nvSpPr>
        <p:spPr>
          <a:xfrm>
            <a:off x="11525360" y="5242445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ECB5EFCC-D0F1-494C-9551-8227F8750606}"/>
              </a:ext>
            </a:extLst>
          </p:cNvPr>
          <p:cNvSpPr txBox="1"/>
          <p:nvPr/>
        </p:nvSpPr>
        <p:spPr>
          <a:xfrm>
            <a:off x="10034632" y="964282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. 6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24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17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5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5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CF9D18DF-5F8D-4144-AF44-4F3BB83E5008}"/>
              </a:ext>
            </a:extLst>
          </p:cNvPr>
          <p:cNvSpPr txBox="1"/>
          <p:nvPr/>
        </p:nvSpPr>
        <p:spPr>
          <a:xfrm>
            <a:off x="7944179" y="964282"/>
            <a:ext cx="1945048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. 5. 2021 </a:t>
            </a:r>
            <a:b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18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9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9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8458859" y="576002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  <a:endParaRPr kumimoji="0" lang="cs-CZ" sz="16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ovéPole 23"/>
          <p:cNvSpPr txBox="1"/>
          <p:nvPr/>
        </p:nvSpPr>
        <p:spPr>
          <a:xfrm>
            <a:off x="5782825" y="2757913"/>
            <a:ext cx="592801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Při pokračujícím vývoji lze celorepublikově dosáhnout hranice</a:t>
            </a:r>
            <a:r>
              <a:rPr kumimoji="0" lang="cs-CZ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 7denního počtu nově potvrzených případů 100/100tis. </a:t>
            </a:r>
            <a:r>
              <a:rPr kumimoji="0" lang="cs-CZ" b="1" i="0" u="none" strike="noStrike" kern="1200" cap="none" spc="0" normalizeH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obyv</a:t>
            </a:r>
            <a:r>
              <a:rPr lang="cs-CZ" b="1" dirty="0" smtClean="0">
                <a:solidFill>
                  <a:srgbClr val="0000FF"/>
                </a:solidFill>
                <a:latin typeface="Calibri" panose="020F0502020204030204"/>
              </a:rPr>
              <a:t>. mezi 9.5. až 14.5. 2021. </a:t>
            </a:r>
            <a:endParaRPr kumimoji="0" lang="cs-CZ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17009439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693109"/>
            <a:ext cx="11905307" cy="2367967"/>
          </a:xfrm>
        </p:spPr>
        <p:txBody>
          <a:bodyPr>
            <a:normAutofit/>
          </a:bodyPr>
          <a:lstStyle/>
          <a:p>
            <a:r>
              <a:rPr lang="cs-CZ" sz="4000" b="1" dirty="0"/>
              <a:t>Testy u dětí obecně</a:t>
            </a:r>
          </a:p>
          <a:p>
            <a:r>
              <a:rPr lang="cs-CZ" sz="4000" b="1" dirty="0"/>
              <a:t>Souhrnné výsledky testů ze škol </a:t>
            </a:r>
            <a:endParaRPr lang="cs-CZ" sz="4000" b="1" i="1" dirty="0"/>
          </a:p>
        </p:txBody>
      </p:sp>
    </p:spTree>
    <p:extLst>
      <p:ext uri="{BB962C8B-B14F-4D97-AF65-F5344CB8AC3E}">
        <p14:creationId xmlns:p14="http://schemas.microsoft.com/office/powerpoint/2010/main" val="187401607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596C74F-0221-4E8A-956E-65A82E2B961A}"/>
              </a:ext>
            </a:extLst>
          </p:cNvPr>
          <p:cNvSpPr txBox="1"/>
          <p:nvPr/>
        </p:nvSpPr>
        <p:spPr>
          <a:xfrm>
            <a:off x="2162175" y="6545102"/>
            <a:ext cx="70770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8031269"/>
              </p:ext>
            </p:extLst>
          </p:nvPr>
        </p:nvGraphicFramePr>
        <p:xfrm>
          <a:off x="1392507" y="1411624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238654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56BE7CCB-72FB-4FD9-853A-D05AEC7FC53A}"/>
              </a:ext>
            </a:extLst>
          </p:cNvPr>
          <p:cNvSpPr/>
          <p:nvPr/>
        </p:nvSpPr>
        <p:spPr>
          <a:xfrm>
            <a:off x="1831583" y="1542954"/>
            <a:ext cx="2041050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1.12. do 3.1. vánoční školní prázdniny</a:t>
            </a:r>
            <a:endParaRPr kumimoji="0" lang="cs-CZ" sz="1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7" name="Přímá spojnice se šipkou 26">
            <a:extLst>
              <a:ext uri="{FF2B5EF4-FFF2-40B4-BE49-F238E27FC236}">
                <a16:creationId xmlns:a16="http://schemas.microsoft.com/office/drawing/2014/main" id="{E8EB343B-FF9D-4901-9D18-93F29BAC2468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2026069" y="2019626"/>
            <a:ext cx="0" cy="1296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bdélník 18">
            <a:extLst>
              <a:ext uri="{FF2B5EF4-FFF2-40B4-BE49-F238E27FC236}">
                <a16:creationId xmlns:a16="http://schemas.microsoft.com/office/drawing/2014/main" id="{63385A4C-5F20-4192-9027-8DBE2AB671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654407" y="1619642"/>
            <a:ext cx="2117000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1. 3. přerušení veškeré prezenční výuky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6D42FF0-6565-403F-B660-2326C9C9049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852108" y="2085115"/>
            <a:ext cx="3211835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4. 1. pokračuje výuk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1. a 2. třídách, přípravných třídách a  speciálních, mateřských školách a praktických školách</a:t>
            </a:r>
          </a:p>
        </p:txBody>
      </p: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5FF670A9-C78E-4ED3-A53F-0C6026BEF7F3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2765968" y="2636762"/>
            <a:ext cx="0" cy="54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C84AA3A6-B8AF-4AD3-9609-5B6777C769C4}"/>
              </a:ext>
            </a:extLst>
          </p:cNvPr>
          <p:cNvCxnSpPr>
            <a:cxnSpLocks/>
          </p:cNvCxnSpPr>
          <p:nvPr/>
        </p:nvCxnSpPr>
        <p:spPr>
          <a:xfrm>
            <a:off x="6519273" y="2223492"/>
            <a:ext cx="0" cy="54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265215" y="613076"/>
            <a:ext cx="1134427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klesá ve všech věkových kategoriích dětí. </a:t>
            </a: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stování po 12.4. zastavilo pokles u dětí mladších než 11 let, nedochází ale k eskalaci a nárůstu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63385A4C-5F20-4192-9027-8DBE2AB6717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903700" y="2763492"/>
            <a:ext cx="2117000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 4. postupný návrat nižších ročníků ZŠ, rotační systém</a:t>
            </a:r>
          </a:p>
        </p:txBody>
      </p:sp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C84AA3A6-B8AF-4AD3-9609-5B6777C769C4}"/>
              </a:ext>
            </a:extLst>
          </p:cNvPr>
          <p:cNvCxnSpPr>
            <a:cxnSpLocks/>
          </p:cNvCxnSpPr>
          <p:nvPr/>
        </p:nvCxnSpPr>
        <p:spPr>
          <a:xfrm>
            <a:off x="8962200" y="3477531"/>
            <a:ext cx="0" cy="54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Přímá spojnice 19"/>
          <p:cNvCxnSpPr/>
          <p:nvPr/>
        </p:nvCxnSpPr>
        <p:spPr>
          <a:xfrm flipV="1">
            <a:off x="1840209" y="5348377"/>
            <a:ext cx="8269949" cy="8627"/>
          </a:xfrm>
          <a:prstGeom prst="line">
            <a:avLst/>
          </a:prstGeom>
          <a:ln w="28575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423998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3957950"/>
            <a:ext cx="7522234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</a:t>
            </a:r>
            <a:r>
              <a:rPr lang="en-US" sz="2000" dirty="0">
                <a:latin typeface="+mn-lt"/>
              </a:rPr>
              <a:t>1</a:t>
            </a:r>
            <a:r>
              <a:rPr lang="pl-PL" sz="2000" dirty="0">
                <a:latin typeface="+mn-lt"/>
              </a:rPr>
              <a:t>.</a:t>
            </a:r>
            <a:r>
              <a:rPr lang="en-US" sz="2000" dirty="0">
                <a:latin typeface="+mn-lt"/>
              </a:rPr>
              <a:t>5</a:t>
            </a:r>
            <a:r>
              <a:rPr lang="pl-PL" sz="2000" dirty="0">
                <a:latin typeface="+mn-lt"/>
              </a:rPr>
              <a:t>.</a:t>
            </a:r>
            <a:r>
              <a:rPr lang="en-US" sz="2000" dirty="0">
                <a:latin typeface="+mn-lt"/>
              </a:rPr>
              <a:t>: 5-11 let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CE85FA95-C1A5-4C64-9392-6663D81F7BAD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17217795"/>
              </p:ext>
            </p:extLst>
          </p:nvPr>
        </p:nvGraphicFramePr>
        <p:xfrm>
          <a:off x="4528376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625055724"/>
              </p:ext>
            </p:ext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FF703C0B-9F55-4E7D-AB33-CC7F35F8E1C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917385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9493C1B-0E57-4EEE-BDE7-3CD426FEEC7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656009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AC99AA1-AE13-4028-BD9E-E6A0DCA21FD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096567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2D6FDF4-9B38-4E3D-886C-CED72EB7981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900945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598A358-90FD-454C-9CE9-E00A52C21BB5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021299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A39769A-120C-4CE2-8E85-73A08F37D749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200481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rgbClr val="000000"/>
                </a:solidFill>
                <a:latin typeface="Arial" panose="020B0604020202020204"/>
              </a:rPr>
              <a:t>1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182521" y="2071855"/>
            <a:ext cx="3923215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írný nárůst počtu nově nakažených dětí ve věku 5 – 11 let </a:t>
            </a:r>
            <a:r>
              <a:rPr kumimoji="0" lang="cs-CZ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yl </a:t>
            </a:r>
            <a:r>
              <a:rPr kumimoji="0" lang="cs-CZ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ezi 13.4. a 26.4. registrován pouze ve Zlínském kraji. </a:t>
            </a:r>
            <a:r>
              <a:rPr kumimoji="0" lang="cs-CZ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o 26.4. již došlo i v tomto kraji k poklesu zátěže. Počty nových</a:t>
            </a:r>
            <a:r>
              <a:rPr kumimoji="0" lang="cs-CZ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případů ale zůstávají v ZLK nadále vysoké (&gt; 200/100tis. dětí dané věkové kategorie), obdobné hodnoty hlásí i Jihočeský kraj. </a:t>
            </a:r>
            <a:endParaRPr kumimoji="0" lang="cs-CZ" b="1" i="0" u="none" strike="noStrike" kern="1200" cap="none" spc="0" normalizeH="0" baseline="0" noProof="0" dirty="0" smtClean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b="1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e</a:t>
            </a:r>
            <a:r>
              <a:rPr kumimoji="0" lang="cs-CZ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většině ostatních krajů zátěž u dětí klesá. Určitá s</a:t>
            </a:r>
            <a:r>
              <a:rPr kumimoji="0" lang="cs-CZ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agnace je v </a:t>
            </a:r>
            <a:r>
              <a:rPr kumimoji="0" lang="cs-CZ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ěchto počtech </a:t>
            </a:r>
            <a:r>
              <a:rPr kumimoji="0" lang="cs-CZ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atrná </a:t>
            </a:r>
            <a:r>
              <a:rPr kumimoji="0" lang="cs-CZ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 </a:t>
            </a:r>
            <a:r>
              <a:rPr kumimoji="0" lang="cs-CZ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tředočeském kraji a v Praze. </a:t>
            </a:r>
            <a:endParaRPr kumimoji="0" lang="cs-CZ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966462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3000" dirty="0"/>
              <a:t>Testy ve školách – průběžné výsledky (dle CFA) II </a:t>
            </a:r>
          </a:p>
        </p:txBody>
      </p:sp>
      <p:graphicFrame>
        <p:nvGraphicFramePr>
          <p:cNvPr id="2" name="Tabulka 1"/>
          <p:cNvGraphicFramePr>
            <a:graphicFrameLocks noGrp="1"/>
          </p:cNvGraphicFramePr>
          <p:nvPr>
            <p:custDataLst>
              <p:tags r:id="rId2"/>
            </p:custDataLst>
            <p:extLst/>
          </p:nvPr>
        </p:nvGraphicFramePr>
        <p:xfrm>
          <a:off x="263825" y="1187288"/>
          <a:ext cx="11657891" cy="2743200"/>
        </p:xfrm>
        <a:graphic>
          <a:graphicData uri="http://schemas.openxmlformats.org/drawingml/2006/table">
            <a:tbl>
              <a:tblPr/>
              <a:tblGrid>
                <a:gridCol w="1434913">
                  <a:extLst>
                    <a:ext uri="{9D8B030D-6E8A-4147-A177-3AD203B41FA5}">
                      <a16:colId xmlns:a16="http://schemas.microsoft.com/office/drawing/2014/main" val="661560722"/>
                    </a:ext>
                  </a:extLst>
                </a:gridCol>
                <a:gridCol w="1649506">
                  <a:extLst>
                    <a:ext uri="{9D8B030D-6E8A-4147-A177-3AD203B41FA5}">
                      <a16:colId xmlns:a16="http://schemas.microsoft.com/office/drawing/2014/main" val="2506814337"/>
                    </a:ext>
                  </a:extLst>
                </a:gridCol>
                <a:gridCol w="1461247">
                  <a:extLst>
                    <a:ext uri="{9D8B030D-6E8A-4147-A177-3AD203B41FA5}">
                      <a16:colId xmlns:a16="http://schemas.microsoft.com/office/drawing/2014/main" val="215986214"/>
                    </a:ext>
                  </a:extLst>
                </a:gridCol>
                <a:gridCol w="1756853">
                  <a:extLst>
                    <a:ext uri="{9D8B030D-6E8A-4147-A177-3AD203B41FA5}">
                      <a16:colId xmlns:a16="http://schemas.microsoft.com/office/drawing/2014/main" val="571367351"/>
                    </a:ext>
                  </a:extLst>
                </a:gridCol>
                <a:gridCol w="1575630">
                  <a:extLst>
                    <a:ext uri="{9D8B030D-6E8A-4147-A177-3AD203B41FA5}">
                      <a16:colId xmlns:a16="http://schemas.microsoft.com/office/drawing/2014/main" val="361299477"/>
                    </a:ext>
                  </a:extLst>
                </a:gridCol>
                <a:gridCol w="1611037">
                  <a:extLst>
                    <a:ext uri="{9D8B030D-6E8A-4147-A177-3AD203B41FA5}">
                      <a16:colId xmlns:a16="http://schemas.microsoft.com/office/drawing/2014/main" val="604021784"/>
                    </a:ext>
                  </a:extLst>
                </a:gridCol>
                <a:gridCol w="1847659">
                  <a:extLst>
                    <a:ext uri="{9D8B030D-6E8A-4147-A177-3AD203B41FA5}">
                      <a16:colId xmlns:a16="http://schemas.microsoft.com/office/drawing/2014/main" val="3985373225"/>
                    </a:ext>
                  </a:extLst>
                </a:gridCol>
                <a:gridCol w="321046">
                  <a:extLst>
                    <a:ext uri="{9D8B030D-6E8A-4147-A177-3AD203B41FA5}">
                      <a16:colId xmlns:a16="http://schemas.microsoft.com/office/drawing/2014/main" val="2540171068"/>
                    </a:ext>
                  </a:extLst>
                </a:gridCol>
              </a:tblGrid>
              <a:tr h="509394">
                <a:tc>
                  <a:txBody>
                    <a:bodyPr/>
                    <a:lstStyle/>
                    <a:p>
                      <a:pPr algn="ctr"/>
                      <a:endParaRPr lang="cs-CZ" dirty="0">
                        <a:effectLst/>
                      </a:endParaRPr>
                    </a:p>
                  </a:txBody>
                  <a:tcPr marL="44450" marR="4445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Testovaných </a:t>
                      </a:r>
                    </a:p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žák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Pozitivních žáků 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Neprůkazných testů žák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Testovaných zaměstnanc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Pozitivních zaměstnanc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Neprůkazných testů zaměstnanc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4668919"/>
                  </a:ext>
                </a:extLst>
              </a:tr>
              <a:tr h="33616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4.2021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 78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91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 35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0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8919800"/>
                  </a:ext>
                </a:extLst>
              </a:tr>
              <a:tr h="33616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63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0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64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1906264"/>
                  </a:ext>
                </a:extLst>
              </a:tr>
              <a:tr h="33616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4.2021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48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8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29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8076232"/>
                  </a:ext>
                </a:extLst>
              </a:tr>
              <a:tr h="33616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4.2021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9 83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81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 75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3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8769142"/>
                  </a:ext>
                </a:extLst>
              </a:tr>
              <a:tr h="336162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4.2021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10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51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1193622"/>
                  </a:ext>
                </a:extLst>
              </a:tr>
              <a:tr h="33616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15 27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0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94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5 77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30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6247501"/>
                  </a:ext>
                </a:extLst>
              </a:tr>
            </a:tbl>
          </a:graphicData>
        </a:graphic>
      </p:graphicFrame>
      <p:sp>
        <p:nvSpPr>
          <p:cNvPr id="3" name="TextovéPole 2"/>
          <p:cNvSpPr txBox="1"/>
          <p:nvPr>
            <p:custDataLst>
              <p:tags r:id="rId3"/>
            </p:custDataLst>
          </p:nvPr>
        </p:nvSpPr>
        <p:spPr>
          <a:xfrm>
            <a:off x="320620" y="4199262"/>
            <a:ext cx="115443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1" u="sng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OVÝ SOUHRN V DATECH </a:t>
            </a:r>
            <a:endParaRPr kumimoji="0" lang="cs-CZ" sz="2400" b="1" i="1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xtovéPole 5"/>
          <p:cNvSpPr txBox="1"/>
          <p:nvPr>
            <p:custDataLst>
              <p:tags r:id="rId4"/>
            </p:custDataLst>
          </p:nvPr>
        </p:nvSpPr>
        <p:spPr>
          <a:xfrm>
            <a:off x="4236700" y="4905306"/>
            <a:ext cx="2111116" cy="76944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615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s. test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206 záchytů</a:t>
            </a:r>
          </a:p>
        </p:txBody>
      </p:sp>
      <p:sp>
        <p:nvSpPr>
          <p:cNvPr id="8" name="Šipka doprava 7"/>
          <p:cNvSpPr/>
          <p:nvPr/>
        </p:nvSpPr>
        <p:spPr>
          <a:xfrm>
            <a:off x="7117920" y="5095933"/>
            <a:ext cx="733246" cy="3881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ovéPole 8"/>
          <p:cNvSpPr txBox="1"/>
          <p:nvPr>
            <p:custDataLst>
              <p:tags r:id="rId5"/>
            </p:custDataLst>
          </p:nvPr>
        </p:nvSpPr>
        <p:spPr>
          <a:xfrm>
            <a:off x="8410091" y="4880599"/>
            <a:ext cx="2475781" cy="76944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ca 46 záchytů na 100tis. testů</a:t>
            </a:r>
          </a:p>
        </p:txBody>
      </p:sp>
      <p:sp>
        <p:nvSpPr>
          <p:cNvPr id="10" name="TextovéPole 9"/>
          <p:cNvSpPr txBox="1"/>
          <p:nvPr>
            <p:custDataLst>
              <p:tags r:id="rId6"/>
            </p:custDataLst>
          </p:nvPr>
        </p:nvSpPr>
        <p:spPr>
          <a:xfrm>
            <a:off x="589522" y="5011278"/>
            <a:ext cx="2767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ĚTI</a:t>
            </a:r>
          </a:p>
        </p:txBody>
      </p:sp>
      <p:sp>
        <p:nvSpPr>
          <p:cNvPr id="11" name="TextovéPole 10"/>
          <p:cNvSpPr txBox="1"/>
          <p:nvPr>
            <p:custDataLst>
              <p:tags r:id="rId7"/>
            </p:custDataLst>
          </p:nvPr>
        </p:nvSpPr>
        <p:spPr>
          <a:xfrm>
            <a:off x="4236700" y="5954763"/>
            <a:ext cx="2111116" cy="76944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15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s. test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29 záchytů</a:t>
            </a:r>
          </a:p>
        </p:txBody>
      </p:sp>
      <p:sp>
        <p:nvSpPr>
          <p:cNvPr id="12" name="Šipka doprava 11"/>
          <p:cNvSpPr/>
          <p:nvPr/>
        </p:nvSpPr>
        <p:spPr>
          <a:xfrm>
            <a:off x="7117920" y="6145390"/>
            <a:ext cx="733246" cy="3881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ovéPole 12"/>
          <p:cNvSpPr txBox="1"/>
          <p:nvPr>
            <p:custDataLst>
              <p:tags r:id="rId8"/>
            </p:custDataLst>
          </p:nvPr>
        </p:nvSpPr>
        <p:spPr>
          <a:xfrm>
            <a:off x="8410091" y="5930056"/>
            <a:ext cx="2475781" cy="76944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ca </a:t>
            </a: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3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áchytů na 100tis. testů</a:t>
            </a:r>
          </a:p>
        </p:txBody>
      </p:sp>
      <p:sp>
        <p:nvSpPr>
          <p:cNvPr id="14" name="TextovéPole 13"/>
          <p:cNvSpPr txBox="1"/>
          <p:nvPr/>
        </p:nvSpPr>
        <p:spPr>
          <a:xfrm>
            <a:off x="589522" y="6060735"/>
            <a:ext cx="2767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městnanci</a:t>
            </a:r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9F9BCD63-50E0-4D36-9A76-86F564E370FE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0" y="648748"/>
            <a:ext cx="27494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 exportu: 1.5.2021 13:35</a:t>
            </a:r>
          </a:p>
        </p:txBody>
      </p:sp>
    </p:spTree>
    <p:extLst>
      <p:ext uri="{BB962C8B-B14F-4D97-AF65-F5344CB8AC3E}">
        <p14:creationId xmlns:p14="http://schemas.microsoft.com/office/powerpoint/2010/main" val="173290766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3000" dirty="0"/>
              <a:t>Testy ve školách – </a:t>
            </a:r>
            <a:r>
              <a:rPr lang="cs-CZ" sz="3000" dirty="0" smtClean="0"/>
              <a:t>souhrnné hodnocení </a:t>
            </a:r>
            <a:endParaRPr lang="cs-CZ" sz="3000" dirty="0"/>
          </a:p>
        </p:txBody>
      </p:sp>
      <p:graphicFrame>
        <p:nvGraphicFramePr>
          <p:cNvPr id="2" name="Tabulka 1"/>
          <p:cNvGraphicFramePr>
            <a:graphicFrameLocks noGrp="1"/>
          </p:cNvGraphicFramePr>
          <p:nvPr>
            <p:custDataLst>
              <p:tags r:id="rId2"/>
            </p:custDataLst>
            <p:extLst/>
          </p:nvPr>
        </p:nvGraphicFramePr>
        <p:xfrm>
          <a:off x="263825" y="1187288"/>
          <a:ext cx="11657891" cy="3372609"/>
        </p:xfrm>
        <a:graphic>
          <a:graphicData uri="http://schemas.openxmlformats.org/drawingml/2006/table">
            <a:tbl>
              <a:tblPr/>
              <a:tblGrid>
                <a:gridCol w="1434913">
                  <a:extLst>
                    <a:ext uri="{9D8B030D-6E8A-4147-A177-3AD203B41FA5}">
                      <a16:colId xmlns:a16="http://schemas.microsoft.com/office/drawing/2014/main" val="661560722"/>
                    </a:ext>
                  </a:extLst>
                </a:gridCol>
                <a:gridCol w="1649506">
                  <a:extLst>
                    <a:ext uri="{9D8B030D-6E8A-4147-A177-3AD203B41FA5}">
                      <a16:colId xmlns:a16="http://schemas.microsoft.com/office/drawing/2014/main" val="2506814337"/>
                    </a:ext>
                  </a:extLst>
                </a:gridCol>
                <a:gridCol w="1461247">
                  <a:extLst>
                    <a:ext uri="{9D8B030D-6E8A-4147-A177-3AD203B41FA5}">
                      <a16:colId xmlns:a16="http://schemas.microsoft.com/office/drawing/2014/main" val="215986214"/>
                    </a:ext>
                  </a:extLst>
                </a:gridCol>
                <a:gridCol w="1756853">
                  <a:extLst>
                    <a:ext uri="{9D8B030D-6E8A-4147-A177-3AD203B41FA5}">
                      <a16:colId xmlns:a16="http://schemas.microsoft.com/office/drawing/2014/main" val="571367351"/>
                    </a:ext>
                  </a:extLst>
                </a:gridCol>
                <a:gridCol w="1575630">
                  <a:extLst>
                    <a:ext uri="{9D8B030D-6E8A-4147-A177-3AD203B41FA5}">
                      <a16:colId xmlns:a16="http://schemas.microsoft.com/office/drawing/2014/main" val="361299477"/>
                    </a:ext>
                  </a:extLst>
                </a:gridCol>
                <a:gridCol w="1611037">
                  <a:extLst>
                    <a:ext uri="{9D8B030D-6E8A-4147-A177-3AD203B41FA5}">
                      <a16:colId xmlns:a16="http://schemas.microsoft.com/office/drawing/2014/main" val="604021784"/>
                    </a:ext>
                  </a:extLst>
                </a:gridCol>
                <a:gridCol w="1847659">
                  <a:extLst>
                    <a:ext uri="{9D8B030D-6E8A-4147-A177-3AD203B41FA5}">
                      <a16:colId xmlns:a16="http://schemas.microsoft.com/office/drawing/2014/main" val="3985373225"/>
                    </a:ext>
                  </a:extLst>
                </a:gridCol>
                <a:gridCol w="321046">
                  <a:extLst>
                    <a:ext uri="{9D8B030D-6E8A-4147-A177-3AD203B41FA5}">
                      <a16:colId xmlns:a16="http://schemas.microsoft.com/office/drawing/2014/main" val="2540171068"/>
                    </a:ext>
                  </a:extLst>
                </a:gridCol>
              </a:tblGrid>
              <a:tr h="509394">
                <a:tc rowSpan="2">
                  <a:txBody>
                    <a:bodyPr/>
                    <a:lstStyle/>
                    <a:p>
                      <a:pPr algn="ctr"/>
                      <a:r>
                        <a:rPr lang="cs-CZ" b="1" dirty="0" smtClean="0">
                          <a:effectLst/>
                        </a:rPr>
                        <a:t>Hodnocený týden </a:t>
                      </a:r>
                      <a:endParaRPr lang="cs-CZ" b="1" dirty="0">
                        <a:effectLst/>
                      </a:endParaRPr>
                    </a:p>
                  </a:txBody>
                  <a:tcPr marL="44450" marR="4445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cs-CZ" b="1" dirty="0" smtClean="0">
                          <a:solidFill>
                            <a:schemeClr val="tx1"/>
                          </a:solidFill>
                          <a:effectLst/>
                        </a:rPr>
                        <a:t>Žáci</a:t>
                      </a:r>
                      <a:endParaRPr lang="cs-CZ" b="1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b="1" dirty="0" smtClean="0">
                          <a:solidFill>
                            <a:schemeClr val="tx1"/>
                          </a:solidFill>
                          <a:effectLst/>
                        </a:rPr>
                        <a:t>Zaměstnanci </a:t>
                      </a:r>
                      <a:endParaRPr lang="cs-CZ" b="1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5382023"/>
                  </a:ext>
                </a:extLst>
              </a:tr>
              <a:tr h="509394">
                <a:tc vMerge="1">
                  <a:txBody>
                    <a:bodyPr/>
                    <a:lstStyle/>
                    <a:p>
                      <a:pPr algn="ctr"/>
                      <a:endParaRPr lang="cs-CZ" dirty="0">
                        <a:effectLst/>
                      </a:endParaRPr>
                    </a:p>
                  </a:txBody>
                  <a:tcPr marL="44450" marR="4445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 smtClean="0">
                          <a:solidFill>
                            <a:schemeClr val="tx1"/>
                          </a:solidFill>
                          <a:effectLst/>
                        </a:rPr>
                        <a:t>Záchyt v % provedených test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 smtClean="0">
                          <a:solidFill>
                            <a:schemeClr val="tx1"/>
                          </a:solidFill>
                          <a:effectLst/>
                        </a:rPr>
                        <a:t>Záchyt na 100tis. test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 smtClean="0">
                          <a:solidFill>
                            <a:schemeClr val="tx1"/>
                          </a:solidFill>
                          <a:effectLst/>
                        </a:rPr>
                        <a:t>% neprůkazných test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 smtClean="0">
                          <a:solidFill>
                            <a:schemeClr val="tx1"/>
                          </a:solidFill>
                          <a:effectLst/>
                        </a:rPr>
                        <a:t>Záchyt v % provedených test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 smtClean="0">
                          <a:solidFill>
                            <a:schemeClr val="tx1"/>
                          </a:solidFill>
                          <a:effectLst/>
                        </a:rPr>
                        <a:t>Záchyt na 100tis. test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b="1" dirty="0" smtClean="0">
                          <a:solidFill>
                            <a:schemeClr val="tx1"/>
                          </a:solidFill>
                          <a:effectLst/>
                        </a:rPr>
                        <a:t>%</a:t>
                      </a:r>
                    </a:p>
                    <a:p>
                      <a:pPr algn="ctr"/>
                      <a:r>
                        <a:rPr lang="cs-CZ" b="1" dirty="0" smtClean="0">
                          <a:solidFill>
                            <a:schemeClr val="tx1"/>
                          </a:solidFill>
                          <a:effectLst/>
                        </a:rPr>
                        <a:t>neprůkazných test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4668919"/>
                  </a:ext>
                </a:extLst>
              </a:tr>
              <a:tr h="33616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 1</a:t>
                      </a:r>
                    </a:p>
                    <a:p>
                      <a:pPr algn="ctr" fontAlgn="b"/>
                      <a:r>
                        <a:rPr lang="cs-CZ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4. – 18.4.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2%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případů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59%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případů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4%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8919800"/>
                  </a:ext>
                </a:extLst>
              </a:tr>
              <a:tr h="33616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 2</a:t>
                      </a:r>
                    </a:p>
                    <a:p>
                      <a:pPr algn="ctr" fontAlgn="b"/>
                      <a:r>
                        <a:rPr lang="cs-CZ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4.</a:t>
                      </a:r>
                      <a:r>
                        <a:rPr lang="cs-CZ" sz="1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– 25.4.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8%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případů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46%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53%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případů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1%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1906264"/>
                  </a:ext>
                </a:extLst>
              </a:tr>
              <a:tr h="33616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 3*</a:t>
                      </a:r>
                    </a:p>
                    <a:p>
                      <a:pPr algn="ctr" fontAlgn="b"/>
                      <a:r>
                        <a:rPr lang="cs-CZ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. – 30.4.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7%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případů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6%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5%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3%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8076232"/>
                  </a:ext>
                </a:extLst>
              </a:tr>
              <a:tr h="33616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6%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případů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41%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52%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případů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8%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6247501"/>
                  </a:ext>
                </a:extLst>
              </a:tr>
            </a:tbl>
          </a:graphicData>
        </a:graphic>
      </p:graphicFrame>
      <p:sp>
        <p:nvSpPr>
          <p:cNvPr id="19" name="TextBox 4">
            <a:extLst>
              <a:ext uri="{FF2B5EF4-FFF2-40B4-BE49-F238E27FC236}">
                <a16:creationId xmlns:a16="http://schemas.microsoft.com/office/drawing/2014/main" id="{9F9BCD63-50E0-4D36-9A76-86F564E370F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0" y="747481"/>
            <a:ext cx="27494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 exportu: 1.5.2021 13:35</a:t>
            </a:r>
          </a:p>
        </p:txBody>
      </p:sp>
      <p:sp>
        <p:nvSpPr>
          <p:cNvPr id="15" name="TextBox 4">
            <a:extLst>
              <a:ext uri="{FF2B5EF4-FFF2-40B4-BE49-F238E27FC236}">
                <a16:creationId xmlns:a16="http://schemas.microsoft.com/office/drawing/2014/main" id="{9F9BCD63-50E0-4D36-9A76-86F564E370F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3825" y="4691927"/>
            <a:ext cx="48221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K datu hodnocení nejsou dohlášeny výsledky za 1. – 2.5.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362658" y="5210354"/>
            <a:ext cx="1165789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>
                <a:solidFill>
                  <a:srgbClr val="C00000"/>
                </a:solidFill>
              </a:rPr>
              <a:t>V čase postupně klesá počet neprůkazných testů, jejich podíl na celku v posledním týdnu klesl pod 2%.</a:t>
            </a:r>
          </a:p>
          <a:p>
            <a:pPr algn="ctr"/>
            <a:endParaRPr lang="cs-CZ" b="1" dirty="0">
              <a:solidFill>
                <a:srgbClr val="C00000"/>
              </a:solidFill>
            </a:endParaRPr>
          </a:p>
          <a:p>
            <a:pPr algn="ctr"/>
            <a:r>
              <a:rPr lang="cs-CZ" b="1" dirty="0" smtClean="0">
                <a:solidFill>
                  <a:srgbClr val="C00000"/>
                </a:solidFill>
              </a:rPr>
              <a:t>Standardizovaná pozitivita testů je v čase stabilní, </a:t>
            </a:r>
          </a:p>
          <a:p>
            <a:pPr algn="ctr"/>
            <a:r>
              <a:rPr lang="cs-CZ" b="1" u="sng" dirty="0" smtClean="0">
                <a:solidFill>
                  <a:srgbClr val="C00000"/>
                </a:solidFill>
              </a:rPr>
              <a:t>je zachytáváno cca 50 potvrzených případů na 100 tis. testů</a:t>
            </a:r>
            <a:r>
              <a:rPr lang="cs-CZ" b="1" dirty="0" smtClean="0">
                <a:solidFill>
                  <a:srgbClr val="C00000"/>
                </a:solidFill>
              </a:rPr>
              <a:t>. </a:t>
            </a:r>
            <a:endParaRPr lang="cs-CZ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59196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4136545"/>
              </p:ext>
            </p:extLst>
          </p:nvPr>
        </p:nvGraphicFramePr>
        <p:xfrm>
          <a:off x="1392507" y="1602506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175729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3842" y="873810"/>
            <a:ext cx="1134427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klesá ve všech věkových kategoriích dospělých, významněji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 kategoriích </a:t>
            </a:r>
            <a:r>
              <a:rPr kumimoji="0" lang="cs-CZ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iorního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věku –</a:t>
            </a:r>
            <a:r>
              <a:rPr kumimoji="0" lang="cs-CZ" sz="2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vliv očkování 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512758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47623" y="1883486"/>
            <a:ext cx="11820525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agnostika založená pouze na AG testech přispívá u dětí ve věku 5 – 11 let k cca 2% celkových pozitivních záchytů. V této věkové kategorii dětí je očekávatelně zaznamenán významně nižší </a:t>
            </a:r>
            <a:r>
              <a:rPr kumimoji="0" lang="cs-CZ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stále klesající podíl </a:t>
            </a: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mptomatických pacientů než v celkové populaci, cca 35%.  </a:t>
            </a:r>
            <a:endParaRPr kumimoji="0" lang="cs-CZ" sz="24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šechny pozitivně potvrzené případy jsou šetřeny epidemiology na KHS. Tyto záznamy umožňují odlišit děti pravděpodobně nakažené v souvislosti se školní docházkou.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088514" y="134663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zitivní testy dětí navštěvujících školy jsou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naprosté většině verifikovány pomocí PCR</a:t>
            </a:r>
          </a:p>
        </p:txBody>
      </p:sp>
      <p:sp>
        <p:nvSpPr>
          <p:cNvPr id="10" name="Šipka dolů 9"/>
          <p:cNvSpPr/>
          <p:nvPr/>
        </p:nvSpPr>
        <p:spPr>
          <a:xfrm>
            <a:off x="5088513" y="3103292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Šipka dolů 8"/>
          <p:cNvSpPr/>
          <p:nvPr/>
        </p:nvSpPr>
        <p:spPr>
          <a:xfrm>
            <a:off x="1176387" y="6410101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/>
          <p:cNvSpPr txBox="1"/>
          <p:nvPr>
            <p:custDataLst>
              <p:tags r:id="rId2"/>
            </p:custDataLst>
          </p:nvPr>
        </p:nvSpPr>
        <p:spPr>
          <a:xfrm>
            <a:off x="292230" y="5177845"/>
            <a:ext cx="3648173" cy="1138773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 sledované období bylo celkem zachyceno </a:t>
            </a: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3 828 </a:t>
            </a: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 u dětí ve věku 5 – 11 let</a:t>
            </a:r>
          </a:p>
        </p:txBody>
      </p:sp>
      <p:sp>
        <p:nvSpPr>
          <p:cNvPr id="12" name="TextovéPole 11"/>
          <p:cNvSpPr txBox="1"/>
          <p:nvPr>
            <p:custDataLst>
              <p:tags r:id="rId3"/>
            </p:custDataLst>
          </p:nvPr>
        </p:nvSpPr>
        <p:spPr>
          <a:xfrm>
            <a:off x="4220172" y="5197442"/>
            <a:ext cx="3231823" cy="113877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sty ve školách potvrdily 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 206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áchytů nákazy</a:t>
            </a:r>
          </a:p>
        </p:txBody>
      </p:sp>
      <p:sp>
        <p:nvSpPr>
          <p:cNvPr id="13" name="TextovéPole 12"/>
          <p:cNvSpPr txBox="1"/>
          <p:nvPr>
            <p:custDataLst>
              <p:tags r:id="rId4"/>
            </p:custDataLst>
          </p:nvPr>
        </p:nvSpPr>
        <p:spPr>
          <a:xfrm>
            <a:off x="7852528" y="5205031"/>
            <a:ext cx="4339472" cy="113877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šetření indikovala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73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ákaz pravděpodobně souvisejících se školním kolektivem </a:t>
            </a:r>
          </a:p>
        </p:txBody>
      </p:sp>
      <p:sp>
        <p:nvSpPr>
          <p:cNvPr id="14" name="Šipka dolů 13"/>
          <p:cNvSpPr/>
          <p:nvPr/>
        </p:nvSpPr>
        <p:spPr>
          <a:xfrm>
            <a:off x="5060230" y="6372392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Šipka dolů 14"/>
          <p:cNvSpPr/>
          <p:nvPr/>
        </p:nvSpPr>
        <p:spPr>
          <a:xfrm>
            <a:off x="9332143" y="6372392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079397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39452"/>
            <a:ext cx="12020549" cy="576000"/>
          </a:xfrm>
        </p:spPr>
        <p:txBody>
          <a:bodyPr/>
          <a:lstStyle/>
          <a:p>
            <a:r>
              <a:rPr lang="en-US" dirty="0"/>
              <a:t>V</a:t>
            </a:r>
            <a:r>
              <a:rPr lang="cs-CZ" dirty="0" err="1"/>
              <a:t>ýsledky</a:t>
            </a:r>
            <a:r>
              <a:rPr lang="cs-CZ" dirty="0"/>
              <a:t> testů u dětí </a:t>
            </a:r>
            <a:r>
              <a:rPr lang="en-US" dirty="0"/>
              <a:t>5</a:t>
            </a:r>
            <a:r>
              <a:rPr lang="cs-CZ" dirty="0"/>
              <a:t>-1</a:t>
            </a:r>
            <a:r>
              <a:rPr lang="en-US" dirty="0"/>
              <a:t>1</a:t>
            </a:r>
            <a:r>
              <a:rPr lang="cs-CZ" dirty="0"/>
              <a:t> let mezi 12.4 - 30.4.2021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B039B79-06AA-4C9C-BA1A-94BB207C83B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/>
          </p:nvPr>
        </p:nvGraphicFramePr>
        <p:xfrm>
          <a:off x="719486" y="1666835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3 828 nově pozitivní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3 655 (95,5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1 138 (29,7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2 517 (65,8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173 (4,5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83 (2,2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90 (2,4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80B51311-E616-4035-BAC8-793651F8ACF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3921" y="812382"/>
            <a:ext cx="579357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</a:t>
            </a:r>
            <a:r>
              <a:rPr kumimoji="0" lang="cs-CZ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zitivní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áchyty u dětí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e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4. – 30.4.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záchyty - </a:t>
            </a:r>
            <a:r>
              <a:rPr kumimoji="0" lang="cs-CZ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pulace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9A08FF42-210A-4A89-A03B-1EC6C64692CE}"/>
              </a:ext>
            </a:extLst>
          </p:cNvPr>
          <p:cNvCxnSpPr>
            <a:cxnSpLocks/>
            <a:stCxn id="14" idx="2"/>
            <a:endCxn id="17" idx="2"/>
          </p:cNvCxnSpPr>
          <p:nvPr/>
        </p:nvCxnSpPr>
        <p:spPr>
          <a:xfrm rot="10800000" flipH="1" flipV="1">
            <a:off x="554989" y="1967970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8C7FF066-57A7-4B99-9FF1-306469C9C859}"/>
              </a:ext>
            </a:extLst>
          </p:cNvPr>
          <p:cNvCxnSpPr>
            <a:cxnSpLocks/>
            <a:stCxn id="21" idx="2"/>
            <a:endCxn id="15" idx="2"/>
          </p:cNvCxnSpPr>
          <p:nvPr/>
        </p:nvCxnSpPr>
        <p:spPr>
          <a:xfrm rot="10800000" flipH="1" flipV="1">
            <a:off x="887065" y="2480364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281084D1-A7BD-43B7-966F-35F4CF8FBBBD}"/>
              </a:ext>
            </a:extLst>
          </p:cNvPr>
          <p:cNvCxnSpPr>
            <a:cxnSpLocks/>
            <a:stCxn id="21" idx="2"/>
            <a:endCxn id="16" idx="2"/>
          </p:cNvCxnSpPr>
          <p:nvPr/>
        </p:nvCxnSpPr>
        <p:spPr>
          <a:xfrm rot="10800000" flipH="1" flipV="1">
            <a:off x="887065" y="2480364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16CA2066-27E7-4D21-B597-D5CAAC07DFD5}"/>
              </a:ext>
            </a:extLst>
          </p:cNvPr>
          <p:cNvCxnSpPr>
            <a:cxnSpLocks/>
            <a:stCxn id="17" idx="2"/>
            <a:endCxn id="18" idx="2"/>
          </p:cNvCxnSpPr>
          <p:nvPr/>
        </p:nvCxnSpPr>
        <p:spPr>
          <a:xfrm rot="10800000" flipH="1" flipV="1">
            <a:off x="887065" y="4122029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60580044-DBFC-45B4-A9EE-89A4E1AA9644}"/>
              </a:ext>
            </a:extLst>
          </p:cNvPr>
          <p:cNvCxnSpPr>
            <a:cxnSpLocks/>
            <a:stCxn id="17" idx="2"/>
            <a:endCxn id="19" idx="2"/>
          </p:cNvCxnSpPr>
          <p:nvPr/>
        </p:nvCxnSpPr>
        <p:spPr>
          <a:xfrm rot="10800000" flipH="1" flipV="1">
            <a:off x="887065" y="4122030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A5328153-B054-4071-A98C-E2F0F016112A}"/>
              </a:ext>
            </a:extLst>
          </p:cNvPr>
          <p:cNvSpPr/>
          <p:nvPr/>
        </p:nvSpPr>
        <p:spPr>
          <a:xfrm>
            <a:off x="554989" y="191397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94B8638-6E3A-4B4B-BD53-8C9DDA8C8C58}"/>
              </a:ext>
            </a:extLst>
          </p:cNvPr>
          <p:cNvSpPr/>
          <p:nvPr/>
        </p:nvSpPr>
        <p:spPr>
          <a:xfrm>
            <a:off x="1367967" y="2980362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DEE83AC-EC6D-4604-BD16-6F1BA16B9963}"/>
              </a:ext>
            </a:extLst>
          </p:cNvPr>
          <p:cNvSpPr/>
          <p:nvPr/>
        </p:nvSpPr>
        <p:spPr>
          <a:xfrm>
            <a:off x="1367967" y="352347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F8C9862B-01D5-4C9B-A3F9-16393B8A50A3}"/>
              </a:ext>
            </a:extLst>
          </p:cNvPr>
          <p:cNvSpPr/>
          <p:nvPr/>
        </p:nvSpPr>
        <p:spPr>
          <a:xfrm>
            <a:off x="887065" y="4068030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0962FAE-F9B1-482C-AFAF-F3E8378687CF}"/>
              </a:ext>
            </a:extLst>
          </p:cNvPr>
          <p:cNvSpPr/>
          <p:nvPr/>
        </p:nvSpPr>
        <p:spPr>
          <a:xfrm>
            <a:off x="1367967" y="462718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3EE98E2B-B223-49EE-9FDD-8C1E8C7B6895}"/>
              </a:ext>
            </a:extLst>
          </p:cNvPr>
          <p:cNvSpPr/>
          <p:nvPr/>
        </p:nvSpPr>
        <p:spPr>
          <a:xfrm>
            <a:off x="1367967" y="515733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FA11DF4-574C-49DF-ACA7-E8398FFAAFE4}"/>
              </a:ext>
            </a:extLst>
          </p:cNvPr>
          <p:cNvSpPr/>
          <p:nvPr/>
        </p:nvSpPr>
        <p:spPr>
          <a:xfrm>
            <a:off x="887065" y="2426364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D11775E1-59DA-4A6F-A295-5D4DFA9B3EB1}"/>
              </a:ext>
            </a:extLst>
          </p:cNvPr>
          <p:cNvCxnSpPr>
            <a:cxnSpLocks/>
            <a:stCxn id="14" idx="2"/>
            <a:endCxn id="21" idx="2"/>
          </p:cNvCxnSpPr>
          <p:nvPr/>
        </p:nvCxnSpPr>
        <p:spPr>
          <a:xfrm rot="10800000" flipH="1" flipV="1">
            <a:off x="554989" y="1967970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0" name="Table 39">
            <a:extLst>
              <a:ext uri="{FF2B5EF4-FFF2-40B4-BE49-F238E27FC236}">
                <a16:creationId xmlns:a16="http://schemas.microsoft.com/office/drawing/2014/main" id="{2FCD65A0-5873-4857-BF4E-14496FC5AB84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/>
          </p:nvPr>
        </p:nvGraphicFramePr>
        <p:xfrm>
          <a:off x="6522784" y="1666835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873 nově pozitivní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858 (98,3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269 (30,8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589 (67,5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15 (1,7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3 (0,3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12 (1,4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sp>
        <p:nvSpPr>
          <p:cNvPr id="41" name="TextBox 40">
            <a:extLst>
              <a:ext uri="{FF2B5EF4-FFF2-40B4-BE49-F238E27FC236}">
                <a16:creationId xmlns:a16="http://schemas.microsoft.com/office/drawing/2014/main" id="{CEBEF2F5-AB47-4FCA-99E0-CF4FC2891E5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967219" y="812382"/>
            <a:ext cx="579678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</a:t>
            </a:r>
            <a:r>
              <a:rPr kumimoji="0" lang="cs-CZ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zitivní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áchyty u dětí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e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4. – 30.4.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ákaza pravděpodobně ve škole*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ABF932EB-B902-4811-A3F3-6DDDF237D021}"/>
              </a:ext>
            </a:extLst>
          </p:cNvPr>
          <p:cNvCxnSpPr>
            <a:cxnSpLocks/>
            <a:stCxn id="47" idx="2"/>
            <a:endCxn id="50" idx="2"/>
          </p:cNvCxnSpPr>
          <p:nvPr/>
        </p:nvCxnSpPr>
        <p:spPr>
          <a:xfrm rot="10800000" flipH="1" flipV="1">
            <a:off x="6358287" y="1967970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511575C7-FE51-4E5C-BAFA-A111E6EBD5A6}"/>
              </a:ext>
            </a:extLst>
          </p:cNvPr>
          <p:cNvCxnSpPr>
            <a:cxnSpLocks/>
            <a:stCxn id="53" idx="2"/>
            <a:endCxn id="48" idx="2"/>
          </p:cNvCxnSpPr>
          <p:nvPr/>
        </p:nvCxnSpPr>
        <p:spPr>
          <a:xfrm rot="10800000" flipH="1" flipV="1">
            <a:off x="6690363" y="2480364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5FA1F7F8-16D4-4858-BCA8-9A302AF7A522}"/>
              </a:ext>
            </a:extLst>
          </p:cNvPr>
          <p:cNvCxnSpPr>
            <a:cxnSpLocks/>
            <a:stCxn id="53" idx="2"/>
            <a:endCxn id="49" idx="2"/>
          </p:cNvCxnSpPr>
          <p:nvPr/>
        </p:nvCxnSpPr>
        <p:spPr>
          <a:xfrm rot="10800000" flipH="1" flipV="1">
            <a:off x="6690363" y="2480364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AFF9D491-E609-4E6C-8E85-9CA6F385FD5A}"/>
              </a:ext>
            </a:extLst>
          </p:cNvPr>
          <p:cNvCxnSpPr>
            <a:cxnSpLocks/>
            <a:stCxn id="50" idx="2"/>
            <a:endCxn id="51" idx="2"/>
          </p:cNvCxnSpPr>
          <p:nvPr/>
        </p:nvCxnSpPr>
        <p:spPr>
          <a:xfrm rot="10800000" flipH="1" flipV="1">
            <a:off x="6690363" y="4122029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D626E197-0824-45A8-B593-A89931ED9C58}"/>
              </a:ext>
            </a:extLst>
          </p:cNvPr>
          <p:cNvCxnSpPr>
            <a:cxnSpLocks/>
            <a:stCxn id="50" idx="2"/>
            <a:endCxn id="52" idx="2"/>
          </p:cNvCxnSpPr>
          <p:nvPr/>
        </p:nvCxnSpPr>
        <p:spPr>
          <a:xfrm rot="10800000" flipH="1" flipV="1">
            <a:off x="6690363" y="4122030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309DFE20-1CAE-4971-A08F-DBD502E8DEEE}"/>
              </a:ext>
            </a:extLst>
          </p:cNvPr>
          <p:cNvSpPr/>
          <p:nvPr/>
        </p:nvSpPr>
        <p:spPr>
          <a:xfrm>
            <a:off x="6358287" y="191397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DA457C35-A674-4C67-9256-A231FDB261A2}"/>
              </a:ext>
            </a:extLst>
          </p:cNvPr>
          <p:cNvSpPr/>
          <p:nvPr/>
        </p:nvSpPr>
        <p:spPr>
          <a:xfrm>
            <a:off x="7171265" y="2980362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CF876611-9209-4AAB-B85E-5458C290562F}"/>
              </a:ext>
            </a:extLst>
          </p:cNvPr>
          <p:cNvSpPr/>
          <p:nvPr/>
        </p:nvSpPr>
        <p:spPr>
          <a:xfrm>
            <a:off x="7171265" y="352347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A29B7EAB-5520-410B-91BC-002D2FB8118A}"/>
              </a:ext>
            </a:extLst>
          </p:cNvPr>
          <p:cNvSpPr/>
          <p:nvPr/>
        </p:nvSpPr>
        <p:spPr>
          <a:xfrm>
            <a:off x="6690363" y="4068030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0B94490D-1E26-4D77-86B6-29DF0CE78D61}"/>
              </a:ext>
            </a:extLst>
          </p:cNvPr>
          <p:cNvSpPr/>
          <p:nvPr/>
        </p:nvSpPr>
        <p:spPr>
          <a:xfrm>
            <a:off x="7171265" y="462718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1643EDF7-BE0D-42CE-87AE-45C6C4EBB8DA}"/>
              </a:ext>
            </a:extLst>
          </p:cNvPr>
          <p:cNvSpPr/>
          <p:nvPr/>
        </p:nvSpPr>
        <p:spPr>
          <a:xfrm>
            <a:off x="7171265" y="515733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322A0847-F895-4FF7-B901-5DCDFBBF5405}"/>
              </a:ext>
            </a:extLst>
          </p:cNvPr>
          <p:cNvSpPr/>
          <p:nvPr/>
        </p:nvSpPr>
        <p:spPr>
          <a:xfrm>
            <a:off x="6690363" y="2426364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54" name="Connector: Elbow 53">
            <a:extLst>
              <a:ext uri="{FF2B5EF4-FFF2-40B4-BE49-F238E27FC236}">
                <a16:creationId xmlns:a16="http://schemas.microsoft.com/office/drawing/2014/main" id="{6D4B96BC-E68B-450D-A497-DAE9BBF44946}"/>
              </a:ext>
            </a:extLst>
          </p:cNvPr>
          <p:cNvCxnSpPr>
            <a:cxnSpLocks/>
            <a:stCxn id="47" idx="2"/>
            <a:endCxn id="53" idx="2"/>
          </p:cNvCxnSpPr>
          <p:nvPr/>
        </p:nvCxnSpPr>
        <p:spPr>
          <a:xfrm rot="10800000" flipH="1" flipV="1">
            <a:off x="6358287" y="1967970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68E68DE3-BFFF-4AA9-BAF8-7CE564507B2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358286" y="6139399"/>
            <a:ext cx="531823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ři epidemickém šetření KHS je potvrzen kolektiv ŠKOLA, v trasování jde o primární případy (děti nejsou uvedeny jako kontakt jiného pozitivního případu)</a:t>
            </a:r>
          </a:p>
        </p:txBody>
      </p:sp>
    </p:spTree>
    <p:extLst>
      <p:ext uri="{BB962C8B-B14F-4D97-AF65-F5344CB8AC3E}">
        <p14:creationId xmlns:p14="http://schemas.microsoft.com/office/powerpoint/2010/main" val="327330670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nově COVID-19 pozitivních na 100 testů u dětí v čase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rot="16200000">
            <a:off x="-2660460" y="3409335"/>
            <a:ext cx="631299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pozitivních na 100 testů v dané věkové skupině za dané časové období (suma za celý časový úsek)</a:t>
            </a:r>
          </a:p>
        </p:txBody>
      </p:sp>
      <p:pic>
        <p:nvPicPr>
          <p:cNvPr id="3" name="Obrázek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6122" y="707360"/>
            <a:ext cx="10849356" cy="6050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492411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3D48422-1472-2B43-AFF4-50C66979EA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247" y="2069359"/>
            <a:ext cx="11490037" cy="1325563"/>
          </a:xfrm>
        </p:spPr>
        <p:txBody>
          <a:bodyPr>
            <a:noAutofit/>
          </a:bodyPr>
          <a:lstStyle/>
          <a:p>
            <a:pPr algn="ctr"/>
            <a:r>
              <a:rPr lang="en-CZ" sz="3400" b="1" dirty="0"/>
              <a:t/>
            </a:r>
            <a:br>
              <a:rPr lang="en-CZ" sz="3400" b="1" dirty="0"/>
            </a:br>
            <a:r>
              <a:rPr lang="cs-CZ" sz="6000" b="1" dirty="0">
                <a:latin typeface="+mn-lt"/>
              </a:rPr>
              <a:t>DĚKUJI ZA POZORNOST</a:t>
            </a:r>
            <a:endParaRPr lang="en-CZ" sz="6000" b="1" dirty="0"/>
          </a:p>
        </p:txBody>
      </p:sp>
    </p:spTree>
    <p:extLst>
      <p:ext uri="{BB962C8B-B14F-4D97-AF65-F5344CB8AC3E}">
        <p14:creationId xmlns:p14="http://schemas.microsoft.com/office/powerpoint/2010/main" val="5171583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7 denní počet nových případů (na 100 000 obyv.)</a:t>
            </a:r>
            <a:r>
              <a:rPr lang="en-US" dirty="0"/>
              <a:t> </a:t>
            </a:r>
            <a:r>
              <a:rPr lang="en-US" u="sng" dirty="0"/>
              <a:t>v </a:t>
            </a:r>
            <a:r>
              <a:rPr lang="en-US" u="sng" dirty="0" err="1"/>
              <a:t>okresech</a:t>
            </a:r>
            <a:endParaRPr lang="cs-CZ" u="sng" dirty="0"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/>
        </p:nvSpPr>
        <p:spPr>
          <a:xfrm>
            <a:off x="10830047" y="3193338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10830047" y="3502064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10830047" y="3810790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/>
        </p:nvSpPr>
        <p:spPr>
          <a:xfrm>
            <a:off x="10830047" y="4119516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10830047" y="4428242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1069804" y="3098672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 1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069804" y="340996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 – 2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069804" y="372125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 – 3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069804" y="403254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 – 4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069804" y="434383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10830047" y="4736967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10830047" y="5045691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1069804" y="465512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1069804" y="4966414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3" name="Picture 3" descr="Map&#10;&#10;Description automatically generated">
            <a:extLst>
              <a:ext uri="{FF2B5EF4-FFF2-40B4-BE49-F238E27FC236}">
                <a16:creationId xmlns:a16="http://schemas.microsoft.com/office/drawing/2014/main" id="{552BC8D4-27CE-4092-8897-D8E087733590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 rotWithShape="1">
          <a:blip r:embed="rId2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35" r="20396"/>
          <a:stretch/>
        </p:blipFill>
        <p:spPr>
          <a:xfrm>
            <a:off x="3726318" y="1207382"/>
            <a:ext cx="3472173" cy="2176655"/>
          </a:xfrm>
          <a:prstGeom prst="rect">
            <a:avLst/>
          </a:prstGeom>
        </p:spPr>
      </p:pic>
      <p:sp>
        <p:nvSpPr>
          <p:cNvPr id="24" name="TextBox 29">
            <a:extLst>
              <a:ext uri="{FF2B5EF4-FFF2-40B4-BE49-F238E27FC236}">
                <a16:creationId xmlns:a16="http://schemas.microsoft.com/office/drawing/2014/main" id="{743A9488-A89A-4239-AEC7-502354C0E771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09211" y="849867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pic>
        <p:nvPicPr>
          <p:cNvPr id="26" name="Picture 2" descr="Map&#10;&#10;Description automatically generated">
            <a:extLst>
              <a:ext uri="{FF2B5EF4-FFF2-40B4-BE49-F238E27FC236}">
                <a16:creationId xmlns:a16="http://schemas.microsoft.com/office/drawing/2014/main" id="{2BF8348F-2FD1-41EE-84CE-5378A7AF7240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 rotWithShape="1">
          <a:blip r:embed="rId2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7" r="10074"/>
          <a:stretch/>
        </p:blipFill>
        <p:spPr>
          <a:xfrm>
            <a:off x="66017" y="1255139"/>
            <a:ext cx="3476834" cy="2176655"/>
          </a:xfrm>
          <a:prstGeom prst="rect">
            <a:avLst/>
          </a:prstGeom>
        </p:spPr>
      </p:pic>
      <p:sp>
        <p:nvSpPr>
          <p:cNvPr id="27" name="TextBox 29">
            <a:extLst>
              <a:ext uri="{FF2B5EF4-FFF2-40B4-BE49-F238E27FC236}">
                <a16:creationId xmlns:a16="http://schemas.microsoft.com/office/drawing/2014/main" id="{87E38982-83E6-4A31-90DE-9A4BA4279091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3726318" y="807272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1.4.2021</a:t>
            </a:r>
          </a:p>
        </p:txBody>
      </p:sp>
      <p:sp>
        <p:nvSpPr>
          <p:cNvPr id="25" name="TextBox 29">
            <a:extLst>
              <a:ext uri="{FF2B5EF4-FFF2-40B4-BE49-F238E27FC236}">
                <a16:creationId xmlns:a16="http://schemas.microsoft.com/office/drawing/2014/main" id="{7CA4E8C6-F25D-45BE-B535-EB83BEB6C699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7352482" y="807272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6.4.2021</a:t>
            </a:r>
          </a:p>
        </p:txBody>
      </p:sp>
      <p:pic>
        <p:nvPicPr>
          <p:cNvPr id="13" name="Picture 12" descr="Map&#10;&#10;Description automatically generated">
            <a:extLst>
              <a:ext uri="{FF2B5EF4-FFF2-40B4-BE49-F238E27FC236}">
                <a16:creationId xmlns:a16="http://schemas.microsoft.com/office/drawing/2014/main" id="{12A884A8-D5AF-4D40-B54F-5F8ECA0140A5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 rotWithShape="1">
          <a:blip r:embed="rId2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03" r="21226"/>
          <a:stretch/>
        </p:blipFill>
        <p:spPr>
          <a:xfrm>
            <a:off x="7205395" y="1271794"/>
            <a:ext cx="3379102" cy="2160000"/>
          </a:xfrm>
          <a:prstGeom prst="rect">
            <a:avLst/>
          </a:prstGeom>
        </p:spPr>
      </p:pic>
      <p:sp>
        <p:nvSpPr>
          <p:cNvPr id="28" name="TextBox 29">
            <a:extLst>
              <a:ext uri="{FF2B5EF4-FFF2-40B4-BE49-F238E27FC236}">
                <a16:creationId xmlns:a16="http://schemas.microsoft.com/office/drawing/2014/main" id="{3DBBC5FB-25FD-4F7C-9593-FB03C44F6922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209211" y="3823736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9.4.2021</a:t>
            </a:r>
          </a:p>
        </p:txBody>
      </p:sp>
      <p:pic>
        <p:nvPicPr>
          <p:cNvPr id="4" name="Picture 3" descr="Map&#10;&#10;Description automatically generated">
            <a:extLst>
              <a:ext uri="{FF2B5EF4-FFF2-40B4-BE49-F238E27FC236}">
                <a16:creationId xmlns:a16="http://schemas.microsoft.com/office/drawing/2014/main" id="{74C76C06-4C5D-41C5-AF3A-B5155F344399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 rotWithShape="1">
          <a:blip r:embed="rId2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30" r="20025"/>
          <a:stretch/>
        </p:blipFill>
        <p:spPr>
          <a:xfrm>
            <a:off x="407407" y="4457865"/>
            <a:ext cx="3499763" cy="2160000"/>
          </a:xfrm>
          <a:prstGeom prst="rect">
            <a:avLst/>
          </a:prstGeom>
        </p:spPr>
      </p:pic>
      <p:sp>
        <p:nvSpPr>
          <p:cNvPr id="2" name="TextovéPole 1"/>
          <p:cNvSpPr txBox="1"/>
          <p:nvPr/>
        </p:nvSpPr>
        <p:spPr>
          <a:xfrm>
            <a:off x="7719471" y="4335472"/>
            <a:ext cx="320057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ová zátěž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ouhodobě klesá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 všech regionech. Všechny kraje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ýdenní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 počtu potvrzených případů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rozsahu cca </a:t>
            </a:r>
          </a:p>
          <a:p>
            <a:pPr lvl="0"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– 15% </a:t>
            </a:r>
            <a:r>
              <a:rPr lang="cs-CZ" sz="2000" b="1" dirty="0">
                <a:solidFill>
                  <a:prstClr val="black"/>
                </a:solidFill>
              </a:rPr>
              <a:t>až – 20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.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C56F086-4004-4ECE-A273-2D25F22FD74E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4399698" y="3823736"/>
            <a:ext cx="11817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5.2021</a:t>
            </a:r>
          </a:p>
        </p:txBody>
      </p:sp>
      <p:pic>
        <p:nvPicPr>
          <p:cNvPr id="22" name="Picture 21" descr="Map&#10;&#10;Description automatically generated">
            <a:extLst>
              <a:ext uri="{FF2B5EF4-FFF2-40B4-BE49-F238E27FC236}">
                <a16:creationId xmlns:a16="http://schemas.microsoft.com/office/drawing/2014/main" id="{0FA2F51A-4265-4711-9A3A-3BEEF349E933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 rotWithShape="1">
          <a:blip r:embed="rId2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23" r="10631"/>
          <a:stretch/>
        </p:blipFill>
        <p:spPr>
          <a:xfrm>
            <a:off x="4018304" y="4427839"/>
            <a:ext cx="3370949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65765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7 denní počet nových případů (na 100 000 obyv.)</a:t>
            </a:r>
            <a:r>
              <a:rPr lang="en-US" dirty="0"/>
              <a:t> </a:t>
            </a:r>
            <a:r>
              <a:rPr lang="en-US" u="sng" dirty="0"/>
              <a:t>v </a:t>
            </a:r>
            <a:r>
              <a:rPr lang="en-US" u="sng" dirty="0" err="1"/>
              <a:t>kraj</a:t>
            </a:r>
            <a:r>
              <a:rPr lang="cs-CZ" u="sng" dirty="0" err="1"/>
              <a:t>ích</a:t>
            </a:r>
            <a:endParaRPr lang="cs-CZ" u="sng" dirty="0"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/>
        </p:nvSpPr>
        <p:spPr>
          <a:xfrm>
            <a:off x="10830047" y="3193338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10830047" y="3502064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10830047" y="3810790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/>
        </p:nvSpPr>
        <p:spPr>
          <a:xfrm>
            <a:off x="10830047" y="4119516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10830047" y="4428242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1069804" y="3098672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 1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069804" y="340996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 – 2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069804" y="372125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 – 3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069804" y="403254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 – 4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069804" y="434383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10830047" y="4736967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10830047" y="5045691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1069804" y="465512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1069804" y="4966414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29">
            <a:extLst>
              <a:ext uri="{FF2B5EF4-FFF2-40B4-BE49-F238E27FC236}">
                <a16:creationId xmlns:a16="http://schemas.microsoft.com/office/drawing/2014/main" id="{743A9488-A89A-4239-AEC7-502354C0E771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209211" y="849867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sp>
        <p:nvSpPr>
          <p:cNvPr id="27" name="TextBox 29">
            <a:extLst>
              <a:ext uri="{FF2B5EF4-FFF2-40B4-BE49-F238E27FC236}">
                <a16:creationId xmlns:a16="http://schemas.microsoft.com/office/drawing/2014/main" id="{87E38982-83E6-4A31-90DE-9A4BA4279091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3726318" y="807272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1.4.2021</a:t>
            </a:r>
          </a:p>
        </p:txBody>
      </p:sp>
      <p:sp>
        <p:nvSpPr>
          <p:cNvPr id="25" name="TextBox 29">
            <a:extLst>
              <a:ext uri="{FF2B5EF4-FFF2-40B4-BE49-F238E27FC236}">
                <a16:creationId xmlns:a16="http://schemas.microsoft.com/office/drawing/2014/main" id="{7CA4E8C6-F25D-45BE-B535-EB83BEB6C699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7352482" y="807272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6.4.2021</a:t>
            </a:r>
          </a:p>
        </p:txBody>
      </p:sp>
      <p:sp>
        <p:nvSpPr>
          <p:cNvPr id="28" name="TextBox 29">
            <a:extLst>
              <a:ext uri="{FF2B5EF4-FFF2-40B4-BE49-F238E27FC236}">
                <a16:creationId xmlns:a16="http://schemas.microsoft.com/office/drawing/2014/main" id="{3DBBC5FB-25FD-4F7C-9593-FB03C44F6922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209211" y="3823736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9.4.2021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7614539" y="4397991"/>
            <a:ext cx="320057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2000" b="1" dirty="0">
                <a:solidFill>
                  <a:prstClr val="black"/>
                </a:solidFill>
              </a:rPr>
              <a:t>Virová zátěž dlouhodobě klesá ve všech regionech. Všechny kraje týdenní pokles počtu potvrzených případů v rozsahu cca </a:t>
            </a:r>
          </a:p>
          <a:p>
            <a:pPr lvl="0">
              <a:defRPr/>
            </a:pPr>
            <a:r>
              <a:rPr lang="cs-CZ" sz="2000" b="1" dirty="0">
                <a:solidFill>
                  <a:prstClr val="black"/>
                </a:solidFill>
              </a:rPr>
              <a:t>– 15% až – 20%. 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941517C-7038-4BC9-930D-B1411AB3D21F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4399698" y="3823736"/>
            <a:ext cx="11817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5.2021</a:t>
            </a:r>
          </a:p>
        </p:txBody>
      </p:sp>
      <p:pic>
        <p:nvPicPr>
          <p:cNvPr id="22" name="Picture 21" descr="Map&#10;&#10;Description automatically generated">
            <a:extLst>
              <a:ext uri="{FF2B5EF4-FFF2-40B4-BE49-F238E27FC236}">
                <a16:creationId xmlns:a16="http://schemas.microsoft.com/office/drawing/2014/main" id="{ED6F4794-1A0A-432F-AC65-012F740C3D55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 rotWithShape="1">
          <a:blip r:embed="rId2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58" r="10351"/>
          <a:stretch/>
        </p:blipFill>
        <p:spPr>
          <a:xfrm>
            <a:off x="136733" y="1277226"/>
            <a:ext cx="3397120" cy="2160000"/>
          </a:xfrm>
          <a:prstGeom prst="rect">
            <a:avLst/>
          </a:prstGeom>
        </p:spPr>
      </p:pic>
      <p:pic>
        <p:nvPicPr>
          <p:cNvPr id="32" name="Picture 31" descr="Map&#10;&#10;Description automatically generated">
            <a:extLst>
              <a:ext uri="{FF2B5EF4-FFF2-40B4-BE49-F238E27FC236}">
                <a16:creationId xmlns:a16="http://schemas.microsoft.com/office/drawing/2014/main" id="{BB1EFEE6-2C8C-4163-9CA4-75E8A3F322B9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 rotWithShape="1">
          <a:blip r:embed="rId2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18" r="10420"/>
          <a:stretch/>
        </p:blipFill>
        <p:spPr>
          <a:xfrm>
            <a:off x="3741317" y="1207382"/>
            <a:ext cx="3399965" cy="2160000"/>
          </a:xfrm>
          <a:prstGeom prst="rect">
            <a:avLst/>
          </a:prstGeom>
        </p:spPr>
      </p:pic>
      <p:pic>
        <p:nvPicPr>
          <p:cNvPr id="34" name="Picture 33" descr="Map&#10;&#10;Description automatically generated">
            <a:extLst>
              <a:ext uri="{FF2B5EF4-FFF2-40B4-BE49-F238E27FC236}">
                <a16:creationId xmlns:a16="http://schemas.microsoft.com/office/drawing/2014/main" id="{1F78B01D-AAA9-42FF-99FC-067A54526383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 rotWithShape="1">
          <a:blip r:embed="rId2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68" r="10280"/>
          <a:stretch/>
        </p:blipFill>
        <p:spPr>
          <a:xfrm>
            <a:off x="7348746" y="1207382"/>
            <a:ext cx="3391430" cy="2160000"/>
          </a:xfrm>
          <a:prstGeom prst="rect">
            <a:avLst/>
          </a:prstGeom>
        </p:spPr>
      </p:pic>
      <p:pic>
        <p:nvPicPr>
          <p:cNvPr id="36" name="Picture 35" descr="Map&#10;&#10;Description automatically generated">
            <a:extLst>
              <a:ext uri="{FF2B5EF4-FFF2-40B4-BE49-F238E27FC236}">
                <a16:creationId xmlns:a16="http://schemas.microsoft.com/office/drawing/2014/main" id="{185B2006-1156-429E-9A6D-FF104F827E34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 rotWithShape="1">
          <a:blip r:embed="rId2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88" r="10351"/>
          <a:stretch/>
        </p:blipFill>
        <p:spPr>
          <a:xfrm>
            <a:off x="133888" y="4299516"/>
            <a:ext cx="3399965" cy="2160000"/>
          </a:xfrm>
          <a:prstGeom prst="rect">
            <a:avLst/>
          </a:prstGeom>
        </p:spPr>
      </p:pic>
      <p:pic>
        <p:nvPicPr>
          <p:cNvPr id="38" name="Picture 37" descr="Map&#10;&#10;Description automatically generated">
            <a:extLst>
              <a:ext uri="{FF2B5EF4-FFF2-40B4-BE49-F238E27FC236}">
                <a16:creationId xmlns:a16="http://schemas.microsoft.com/office/drawing/2014/main" id="{5A36923A-E7B9-4262-A0E5-9A92F80019F4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 rotWithShape="1">
          <a:blip r:embed="rId2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07" r="9695"/>
          <a:stretch/>
        </p:blipFill>
        <p:spPr>
          <a:xfrm>
            <a:off x="3743978" y="4260620"/>
            <a:ext cx="3437972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10194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28575" y="1910183"/>
            <a:ext cx="11910383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jrychleji epidemie zpomaluje v krajích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VK, KHK a PZK, těsně k hranici 7denní incidence klesá Praha a dále kraje LBK a PAK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detailnějším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3200" b="1" i="0" u="none" strike="noStrike" kern="1200" cap="none" spc="0" normalizeH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álování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je patrné, že určité oblasti KVK a KH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iž klesly pod hranici 7denního počtu potvrzených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ípadů 50/100tis. obyv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088514" y="134663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zi regiony stále přetrvávají značné rozdíly</a:t>
            </a:r>
            <a:r>
              <a:rPr kumimoji="0" lang="cs-CZ" sz="40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celkové virové zátěži</a:t>
            </a:r>
            <a:endParaRPr kumimoji="0" lang="cs-CZ" sz="4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088513" y="3271515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088513" y="5621448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78637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7 denní počet nových případů (na 100 000 obyv.)</a:t>
            </a:r>
            <a:r>
              <a:rPr lang="en-US" dirty="0"/>
              <a:t> v </a:t>
            </a:r>
            <a:r>
              <a:rPr lang="en-US" dirty="0" err="1"/>
              <a:t>okresech</a:t>
            </a:r>
            <a:endParaRPr lang="cs-CZ" dirty="0"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0830047" y="3193338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10830047" y="3502064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10830047" y="3810790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/>
        </p:nvSpPr>
        <p:spPr>
          <a:xfrm>
            <a:off x="10830047" y="4119516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10830047" y="4428242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069804" y="3098672"/>
            <a:ext cx="9829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5</a:t>
            </a: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0 –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1</a:t>
            </a: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00</a:t>
            </a:r>
            <a:endParaRPr lang="cs-CZ" sz="1600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069804" y="340996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 – 2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069804" y="372125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 – 3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069804" y="403254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 – 4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1069804" y="434383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10830047" y="4736967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10830047" y="5045691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1069804" y="465512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069804" y="4966414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29">
            <a:extLst>
              <a:ext uri="{FF2B5EF4-FFF2-40B4-BE49-F238E27FC236}">
                <a16:creationId xmlns:a16="http://schemas.microsoft.com/office/drawing/2014/main" id="{743A9488-A89A-4239-AEC7-502354C0E771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09211" y="849867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sp>
        <p:nvSpPr>
          <p:cNvPr id="27" name="TextBox 29">
            <a:extLst>
              <a:ext uri="{FF2B5EF4-FFF2-40B4-BE49-F238E27FC236}">
                <a16:creationId xmlns:a16="http://schemas.microsoft.com/office/drawing/2014/main" id="{87E38982-83E6-4A31-90DE-9A4BA4279091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3726318" y="807272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1.4.2021</a:t>
            </a:r>
          </a:p>
        </p:txBody>
      </p:sp>
      <p:sp>
        <p:nvSpPr>
          <p:cNvPr id="25" name="TextBox 29">
            <a:extLst>
              <a:ext uri="{FF2B5EF4-FFF2-40B4-BE49-F238E27FC236}">
                <a16:creationId xmlns:a16="http://schemas.microsoft.com/office/drawing/2014/main" id="{7CA4E8C6-F25D-45BE-B535-EB83BEB6C699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7352482" y="807272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6.4.2021</a:t>
            </a:r>
          </a:p>
        </p:txBody>
      </p:sp>
      <p:sp>
        <p:nvSpPr>
          <p:cNvPr id="28" name="TextBox 29">
            <a:extLst>
              <a:ext uri="{FF2B5EF4-FFF2-40B4-BE49-F238E27FC236}">
                <a16:creationId xmlns:a16="http://schemas.microsoft.com/office/drawing/2014/main" id="{3DBBC5FB-25FD-4F7C-9593-FB03C44F692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209211" y="3823736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9.4.2021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7614539" y="4397991"/>
            <a:ext cx="320057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2000" b="1" dirty="0">
                <a:solidFill>
                  <a:prstClr val="black"/>
                </a:solidFill>
              </a:rPr>
              <a:t>Virová zátěž dlouhodobě klesá ve všech regionech. Všechny kraje týdenní pokles počtu potvrzených případů v rozsahu cca </a:t>
            </a:r>
          </a:p>
          <a:p>
            <a:pPr lvl="0">
              <a:defRPr/>
            </a:pPr>
            <a:r>
              <a:rPr lang="cs-CZ" sz="2000" b="1" dirty="0">
                <a:solidFill>
                  <a:prstClr val="black"/>
                </a:solidFill>
              </a:rPr>
              <a:t>– 15% až – 20%. 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8D61F06-E564-4806-8691-3AC255200BE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0830047" y="2918672"/>
            <a:ext cx="180000" cy="180000"/>
          </a:xfrm>
          <a:prstGeom prst="rect">
            <a:avLst/>
          </a:prstGeom>
          <a:solidFill>
            <a:srgbClr val="4CB9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186B9F7-F8F7-4F40-BFDF-925ACE69CA58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1069803" y="2854784"/>
            <a:ext cx="5902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&lt;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5</a:t>
            </a:r>
            <a:r>
              <a:rPr lang="en-US" sz="1600" dirty="0">
                <a:solidFill>
                  <a:srgbClr val="000000"/>
                </a:solidFill>
                <a:latin typeface="Arial" panose="020B0604020202020204"/>
              </a:rPr>
              <a:t>0</a:t>
            </a:r>
            <a:endParaRPr lang="cs-CZ" sz="1600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09A5A85-02BB-4360-A083-DF894E23F6BA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4399698" y="3823736"/>
            <a:ext cx="11817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5.2021</a:t>
            </a:r>
          </a:p>
        </p:txBody>
      </p:sp>
      <p:pic>
        <p:nvPicPr>
          <p:cNvPr id="22" name="Picture 21" descr="Map&#10;&#10;Description automatically generated">
            <a:extLst>
              <a:ext uri="{FF2B5EF4-FFF2-40B4-BE49-F238E27FC236}">
                <a16:creationId xmlns:a16="http://schemas.microsoft.com/office/drawing/2014/main" id="{242FD362-1BE1-449A-90F2-F2D73360B4D2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 rotWithShape="1">
          <a:blip r:embed="rId2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88" r="10139"/>
          <a:stretch/>
        </p:blipFill>
        <p:spPr>
          <a:xfrm>
            <a:off x="25421" y="1269000"/>
            <a:ext cx="3408594" cy="2160000"/>
          </a:xfrm>
          <a:prstGeom prst="rect">
            <a:avLst/>
          </a:prstGeom>
        </p:spPr>
      </p:pic>
      <p:pic>
        <p:nvPicPr>
          <p:cNvPr id="34" name="Picture 33" descr="Map&#10;&#10;Description automatically generated">
            <a:extLst>
              <a:ext uri="{FF2B5EF4-FFF2-40B4-BE49-F238E27FC236}">
                <a16:creationId xmlns:a16="http://schemas.microsoft.com/office/drawing/2014/main" id="{A098708D-3CF6-46C6-892B-DBE5B934C984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 rotWithShape="1">
          <a:blip r:embed="rId2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18" r="10138"/>
          <a:stretch/>
        </p:blipFill>
        <p:spPr>
          <a:xfrm>
            <a:off x="3493771" y="1277226"/>
            <a:ext cx="3411439" cy="2160000"/>
          </a:xfrm>
          <a:prstGeom prst="rect">
            <a:avLst/>
          </a:prstGeom>
        </p:spPr>
      </p:pic>
      <p:pic>
        <p:nvPicPr>
          <p:cNvPr id="36" name="Picture 35" descr="Map&#10;&#10;Description automatically generated">
            <a:extLst>
              <a:ext uri="{FF2B5EF4-FFF2-40B4-BE49-F238E27FC236}">
                <a16:creationId xmlns:a16="http://schemas.microsoft.com/office/drawing/2014/main" id="{A41A144F-BB34-4D14-A657-83516FD11406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 rotWithShape="1">
          <a:blip r:embed="rId2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38" r="10138"/>
          <a:stretch/>
        </p:blipFill>
        <p:spPr>
          <a:xfrm>
            <a:off x="7042943" y="1277226"/>
            <a:ext cx="3394368" cy="2160000"/>
          </a:xfrm>
          <a:prstGeom prst="rect">
            <a:avLst/>
          </a:prstGeom>
        </p:spPr>
      </p:pic>
      <p:pic>
        <p:nvPicPr>
          <p:cNvPr id="40" name="Picture 39" descr="Map&#10;&#10;Description automatically generated">
            <a:extLst>
              <a:ext uri="{FF2B5EF4-FFF2-40B4-BE49-F238E27FC236}">
                <a16:creationId xmlns:a16="http://schemas.microsoft.com/office/drawing/2014/main" id="{58C29F3E-6DC8-41AC-9E38-6D4C7B82EE2B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 rotWithShape="1">
          <a:blip r:embed="rId2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88" r="10139"/>
          <a:stretch/>
        </p:blipFill>
        <p:spPr>
          <a:xfrm>
            <a:off x="170333" y="4330643"/>
            <a:ext cx="3408594" cy="2160000"/>
          </a:xfrm>
          <a:prstGeom prst="rect">
            <a:avLst/>
          </a:prstGeom>
        </p:spPr>
      </p:pic>
      <p:pic>
        <p:nvPicPr>
          <p:cNvPr id="42" name="Picture 41" descr="Map&#10;&#10;Description automatically generated">
            <a:extLst>
              <a:ext uri="{FF2B5EF4-FFF2-40B4-BE49-F238E27FC236}">
                <a16:creationId xmlns:a16="http://schemas.microsoft.com/office/drawing/2014/main" id="{DDB38DC2-605F-44DD-B190-4C804E82A3FC}"/>
              </a:ext>
            </a:extLst>
          </p:cNvPr>
          <p:cNvPicPr>
            <a:picLocks noChangeAspect="1"/>
          </p:cNvPicPr>
          <p:nvPr>
            <p:custDataLst>
              <p:tags r:id="rId21"/>
            </p:custDataLst>
          </p:nvPr>
        </p:nvPicPr>
        <p:blipFill rotWithShape="1">
          <a:blip r:embed="rId2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98" r="10138"/>
          <a:stretch/>
        </p:blipFill>
        <p:spPr>
          <a:xfrm>
            <a:off x="3821744" y="4224968"/>
            <a:ext cx="3400059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32726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Vývoj v regionech </a:t>
            </a:r>
          </a:p>
          <a:p>
            <a:r>
              <a:rPr lang="cs-CZ" sz="4800" b="1" i="1" dirty="0"/>
              <a:t>- Identifikace rizik - 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29519946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1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7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1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5.xml><?xml version="1.0" encoding="utf-8"?>
<a:theme xmlns:a="http://schemas.openxmlformats.org/drawingml/2006/main" name="5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6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6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8.xml><?xml version="1.0" encoding="utf-8"?>
<a:theme xmlns:a="http://schemas.openxmlformats.org/drawingml/2006/main" name="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9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2F500C3B-2BAF-4CA5-849A-B1EC376A25DB}" vid="{C99570C5-ACCF-4382-8246-136F83C28052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207</TotalTime>
  <Words>3421</Words>
  <Application>Microsoft Office PowerPoint</Application>
  <PresentationFormat>Širokoúhlá obrazovka</PresentationFormat>
  <Paragraphs>668</Paragraphs>
  <Slides>43</Slides>
  <Notes>15</Notes>
  <HiddenSlides>0</HiddenSlides>
  <MMClips>0</MMClips>
  <ScaleCrop>false</ScaleCrop>
  <HeadingPairs>
    <vt:vector size="6" baseType="variant">
      <vt:variant>
        <vt:lpstr>Použitá písma</vt:lpstr>
      </vt:variant>
      <vt:variant>
        <vt:i4>6</vt:i4>
      </vt:variant>
      <vt:variant>
        <vt:lpstr>Motiv</vt:lpstr>
      </vt:variant>
      <vt:variant>
        <vt:i4>9</vt:i4>
      </vt:variant>
      <vt:variant>
        <vt:lpstr>Nadpisy snímků</vt:lpstr>
      </vt:variant>
      <vt:variant>
        <vt:i4>43</vt:i4>
      </vt:variant>
    </vt:vector>
  </HeadingPairs>
  <TitlesOfParts>
    <vt:vector size="58" baseType="lpstr">
      <vt:lpstr>Calibri Light</vt:lpstr>
      <vt:lpstr>Arial</vt:lpstr>
      <vt:lpstr>Calibri</vt:lpstr>
      <vt:lpstr>Arial (Základní text)</vt:lpstr>
      <vt:lpstr>Times New Roman</vt:lpstr>
      <vt:lpstr>Arial Black</vt:lpstr>
      <vt:lpstr>1_Motiv Office</vt:lpstr>
      <vt:lpstr>3_Motiv Office</vt:lpstr>
      <vt:lpstr>7_Motiv Office</vt:lpstr>
      <vt:lpstr>12_Motiv Office</vt:lpstr>
      <vt:lpstr>5_Motiv Office</vt:lpstr>
      <vt:lpstr>Motiv Office</vt:lpstr>
      <vt:lpstr>6_Motiv Office</vt:lpstr>
      <vt:lpstr>2_Motiv Office</vt:lpstr>
      <vt:lpstr>8_Motiv Office</vt:lpstr>
      <vt:lpstr>Datová a informační základna  pro management pandemie COVID-19</vt:lpstr>
      <vt:lpstr>Prezentace aplikace PowerPoint</vt:lpstr>
      <vt:lpstr>Prezentace aplikace PowerPoint</vt:lpstr>
      <vt:lpstr>Počty COVID-19 pozitivních v ČR na 100 000 v populaci</vt:lpstr>
      <vt:lpstr>7 denní počet nových případů (na 100 000 obyv.) v okresech</vt:lpstr>
      <vt:lpstr>7 denní počet nových případů (na 100 000 obyv.) v krajích</vt:lpstr>
      <vt:lpstr>Prezentace aplikace PowerPoint</vt:lpstr>
      <vt:lpstr>7 denní počet nových případů (na 100 000 obyv.) v okresech</vt:lpstr>
      <vt:lpstr>Datová a informační základna  pro management pandemie COVID-19</vt:lpstr>
      <vt:lpstr>Zátěž regionů ve vzájemném srovnání krajů k 3.5.</vt:lpstr>
      <vt:lpstr>Vybrané ukazatele – srovnání regionů</vt:lpstr>
      <vt:lpstr>R (zjednodušený výpočet) - 7 denní úseky: srovnání krajů k 1.5.</vt:lpstr>
      <vt:lpstr>Počty COVID-19 pozitivních na 100 000 v populaci v krajích a ČR</vt:lpstr>
      <vt:lpstr>Relativní pozitivita testů s diagnostickou/epidemiologickou indikací za 7 dní:  srovnání krajů k 1.5.</vt:lpstr>
      <vt:lpstr>Nově diagnostikovaní symptomatičtí pacienti za 7 dní na 100 000 obyvatel:  srovnání krajů k 1.5.</vt:lpstr>
      <vt:lpstr>Nové případy za 7 dní na 100 000 obyvatel: 20 okresů s nejvyššími hodnotami k 1.5.</vt:lpstr>
      <vt:lpstr>Přehled okresů s poteniálně rizikovými epidemickými hodnotami</vt:lpstr>
      <vt:lpstr>Datová a informační základna  pro management pandemie COVID-19</vt:lpstr>
      <vt:lpstr>Počet provedených a vykázaných AG testů v ČR 1. 2. – 30. 4. 2021</vt:lpstr>
      <vt:lpstr>Počet provedených a vykázaných PCR testů v ČR 1. 2. – 30. 4. 2021</vt:lpstr>
      <vt:lpstr>Podíl pozitivních testů: diagnostické indikace </vt:lpstr>
      <vt:lpstr>Podíl pozitivních testů: epidemiologické indikace</vt:lpstr>
      <vt:lpstr>Typologie pozitivních případů</vt:lpstr>
      <vt:lpstr>Počty testů dle indikace a účelu: 26. 4.–2. 5.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  <vt:lpstr>Datová a informační základna  pro management pandemie COVID-19</vt:lpstr>
      <vt:lpstr>Prezentace aplikace PowerPoint</vt:lpstr>
      <vt:lpstr>Struktura popualce z hlediska vnímavosti k infekci </vt:lpstr>
      <vt:lpstr>Prezentace aplikace PowerPoint</vt:lpstr>
      <vt:lpstr>Modelové scénáře: 7denní hodnoty na 100 tisíc obyvatel</vt:lpstr>
      <vt:lpstr>Datová a informační základna  pro management pandemie COVID-19</vt:lpstr>
      <vt:lpstr>Počty COVID-19 pozitivních v ČR na 100 000 v populaci</vt:lpstr>
      <vt:lpstr>Nové případy za 7 dní na 100 000 obyvatel: srovnání krajů k 1.5.: 5-11 let</vt:lpstr>
      <vt:lpstr>Testy ve školách – průběžné výsledky (dle CFA) II </vt:lpstr>
      <vt:lpstr>Testy ve školách – souhrnné hodnocení </vt:lpstr>
      <vt:lpstr>Prezentace aplikace PowerPoint</vt:lpstr>
      <vt:lpstr>Výsledky testů u dětí 5-11 let mezi 12.4 - 30.4.2021</vt:lpstr>
      <vt:lpstr>Počty nově COVID-19 pozitivních na 100 testů u dětí v čase</vt:lpstr>
      <vt:lpstr> DĚKUJI ZA POZORNOS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Ladislav Dušek</cp:lastModifiedBy>
  <cp:revision>717</cp:revision>
  <dcterms:created xsi:type="dcterms:W3CDTF">2020-11-11T17:36:28Z</dcterms:created>
  <dcterms:modified xsi:type="dcterms:W3CDTF">2021-05-03T19:14:48Z</dcterms:modified>
</cp:coreProperties>
</file>